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855EB8-7EB1-4BF7-9706-E3D91595E0E3}" v="65" dt="2022-09-30T08:21:29.36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75"/>
  </p:normalViewPr>
  <p:slideViewPr>
    <p:cSldViewPr snapToGrid="0">
      <p:cViewPr varScale="1">
        <p:scale>
          <a:sx n="101" d="100"/>
          <a:sy n="101" d="100"/>
        </p:scale>
        <p:origin x="294"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4T07:09:42.454" v="69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4T07:09:42.454" v="693"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del mod">
          <ac:chgData name="Kümmerle, Markus" userId="edb588ad-b118-44cb-93b6-335b967c9009" providerId="ADAL" clId="{191D59EE-583A-4E7E-BC0E-2418733E0254}" dt="2022-02-24T07:09:27.339" v="690" actId="478"/>
          <ac:picMkLst>
            <pc:docMk/>
            <pc:sldMk cId="1609124706" sldId="2049"/>
            <ac:picMk id="9" creationId="{35F3730C-39B0-414D-AC73-0D22051ED1DB}"/>
          </ac:picMkLst>
        </pc:picChg>
        <pc:picChg chg="add mod">
          <ac:chgData name="Kümmerle, Markus" userId="edb588ad-b118-44cb-93b6-335b967c9009" providerId="ADAL" clId="{191D59EE-583A-4E7E-BC0E-2418733E0254}" dt="2022-02-24T07:09:24.414" v="689" actId="1076"/>
          <ac:picMkLst>
            <pc:docMk/>
            <pc:sldMk cId="1609124706" sldId="2049"/>
            <ac:picMk id="10" creationId="{CA29AE2B-3A81-4E25-9A14-7D592817984B}"/>
          </ac:picMkLst>
        </pc:picChg>
        <pc:picChg chg="add mod">
          <ac:chgData name="Kümmerle, Markus" userId="edb588ad-b118-44cb-93b6-335b967c9009" providerId="ADAL" clId="{191D59EE-583A-4E7E-BC0E-2418733E0254}" dt="2022-02-24T07:09:42.454" v="693" actId="1076"/>
          <ac:picMkLst>
            <pc:docMk/>
            <pc:sldMk cId="1609124706" sldId="2049"/>
            <ac:picMk id="12" creationId="{08C621FC-DC50-4B73-A9EB-23E1EA12C64D}"/>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4T07:09:02.028"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C4001F0D-8688-482A-824F-B491D5165291}"/>
    <pc:docChg chg="custSel modSld modMainMaster">
      <pc:chgData name="Kümmerle, Markus" userId="edb588ad-b118-44cb-93b6-335b967c9009" providerId="ADAL" clId="{C4001F0D-8688-482A-824F-B491D5165291}" dt="2022-04-07T07:47:05.469" v="254" actId="20577"/>
      <pc:docMkLst>
        <pc:docMk/>
      </pc:docMkLst>
      <pc:sldChg chg="addSp modSp mod">
        <pc:chgData name="Kümmerle, Markus" userId="edb588ad-b118-44cb-93b6-335b967c9009" providerId="ADAL" clId="{C4001F0D-8688-482A-824F-B491D5165291}" dt="2022-04-07T07:45:49.562" v="249" actId="1037"/>
        <pc:sldMkLst>
          <pc:docMk/>
          <pc:sldMk cId="1609124706" sldId="2049"/>
        </pc:sldMkLst>
        <pc:spChg chg="mod ord">
          <ac:chgData name="Kümmerle, Markus" userId="edb588ad-b118-44cb-93b6-335b967c9009" providerId="ADAL" clId="{C4001F0D-8688-482A-824F-B491D5165291}" dt="2022-04-07T07:44:26.054" v="163"/>
          <ac:spMkLst>
            <pc:docMk/>
            <pc:sldMk cId="1609124706" sldId="2049"/>
            <ac:spMk id="2" creationId="{2B73D7CB-E55B-ED4D-A567-274B625D4CEF}"/>
          </ac:spMkLst>
        </pc:spChg>
        <pc:spChg chg="mod ord">
          <ac:chgData name="Kümmerle, Markus" userId="edb588ad-b118-44cb-93b6-335b967c9009" providerId="ADAL" clId="{C4001F0D-8688-482A-824F-B491D5165291}" dt="2022-04-07T07:44:26.053" v="161"/>
          <ac:spMkLst>
            <pc:docMk/>
            <pc:sldMk cId="1609124706" sldId="2049"/>
            <ac:spMk id="4" creationId="{F21FBA62-7C92-48CE-A159-19EB9B276E15}"/>
          </ac:spMkLst>
        </pc:spChg>
        <pc:spChg chg="mod ord">
          <ac:chgData name="Kümmerle, Markus" userId="edb588ad-b118-44cb-93b6-335b967c9009" providerId="ADAL" clId="{C4001F0D-8688-482A-824F-B491D5165291}" dt="2022-04-07T07:44:26.052" v="159"/>
          <ac:spMkLst>
            <pc:docMk/>
            <pc:sldMk cId="1609124706" sldId="2049"/>
            <ac:spMk id="17" creationId="{C9C7E6E5-611D-45EA-9A9F-F104F894113F}"/>
          </ac:spMkLst>
        </pc:spChg>
        <pc:graphicFrameChg chg="mod">
          <ac:chgData name="Kümmerle, Markus" userId="edb588ad-b118-44cb-93b6-335b967c9009" providerId="ADAL" clId="{C4001F0D-8688-482A-824F-B491D5165291}" dt="2022-04-07T07:44:26.074" v="210"/>
          <ac:graphicFrameMkLst>
            <pc:docMk/>
            <pc:sldMk cId="1609124706" sldId="2049"/>
            <ac:graphicFrameMk id="5" creationId="{24EAA83B-388C-42C7-9B96-60997077107C}"/>
          </ac:graphicFrameMkLst>
        </pc:graphicFrameChg>
        <pc:picChg chg="mod ord">
          <ac:chgData name="Kümmerle, Markus" userId="edb588ad-b118-44cb-93b6-335b967c9009" providerId="ADAL" clId="{C4001F0D-8688-482A-824F-B491D5165291}" dt="2022-04-07T07:45:09.356" v="215" actId="408"/>
          <ac:picMkLst>
            <pc:docMk/>
            <pc:sldMk cId="1609124706" sldId="2049"/>
            <ac:picMk id="6" creationId="{E801FD9D-36B2-4E40-B027-4CB85035AA9C}"/>
          </ac:picMkLst>
        </pc:picChg>
        <pc:picChg chg="mod ord">
          <ac:chgData name="Kümmerle, Markus" userId="edb588ad-b118-44cb-93b6-335b967c9009" providerId="ADAL" clId="{C4001F0D-8688-482A-824F-B491D5165291}" dt="2022-04-07T07:44:26.063" v="198"/>
          <ac:picMkLst>
            <pc:docMk/>
            <pc:sldMk cId="1609124706" sldId="2049"/>
            <ac:picMk id="7" creationId="{A55850A9-4D08-40D3-BE1B-EC8002332372}"/>
          </ac:picMkLst>
        </pc:picChg>
        <pc:picChg chg="mod ord">
          <ac:chgData name="Kümmerle, Markus" userId="edb588ad-b118-44cb-93b6-335b967c9009" providerId="ADAL" clId="{C4001F0D-8688-482A-824F-B491D5165291}" dt="2022-04-07T07:44:26.059" v="181"/>
          <ac:picMkLst>
            <pc:docMk/>
            <pc:sldMk cId="1609124706" sldId="2049"/>
            <ac:picMk id="8" creationId="{183685A2-5DC3-47D9-9FE3-49DCA1C005FB}"/>
          </ac:picMkLst>
        </pc:picChg>
        <pc:picChg chg="mod ord">
          <ac:chgData name="Kümmerle, Markus" userId="edb588ad-b118-44cb-93b6-335b967c9009" providerId="ADAL" clId="{C4001F0D-8688-482A-824F-B491D5165291}" dt="2022-04-07T07:44:26.063" v="200"/>
          <ac:picMkLst>
            <pc:docMk/>
            <pc:sldMk cId="1609124706" sldId="2049"/>
            <ac:picMk id="10" creationId="{CA29AE2B-3A81-4E25-9A14-7D592817984B}"/>
          </ac:picMkLst>
        </pc:picChg>
        <pc:picChg chg="mod ord">
          <ac:chgData name="Kümmerle, Markus" userId="edb588ad-b118-44cb-93b6-335b967c9009" providerId="ADAL" clId="{C4001F0D-8688-482A-824F-B491D5165291}" dt="2022-04-07T07:44:26.064" v="202"/>
          <ac:picMkLst>
            <pc:docMk/>
            <pc:sldMk cId="1609124706" sldId="2049"/>
            <ac:picMk id="12" creationId="{08C621FC-DC50-4B73-A9EB-23E1EA12C64D}"/>
          </ac:picMkLst>
        </pc:picChg>
        <pc:picChg chg="mod ord">
          <ac:chgData name="Kümmerle, Markus" userId="edb588ad-b118-44cb-93b6-335b967c9009" providerId="ADAL" clId="{C4001F0D-8688-482A-824F-B491D5165291}" dt="2022-04-07T07:45:49.562" v="249" actId="1037"/>
          <ac:picMkLst>
            <pc:docMk/>
            <pc:sldMk cId="1609124706" sldId="2049"/>
            <ac:picMk id="20" creationId="{00278130-6A13-4C98-8848-0032F0E95D5B}"/>
          </ac:picMkLst>
        </pc:picChg>
        <pc:picChg chg="mod ord">
          <ac:chgData name="Kümmerle, Markus" userId="edb588ad-b118-44cb-93b6-335b967c9009" providerId="ADAL" clId="{C4001F0D-8688-482A-824F-B491D5165291}" dt="2022-04-07T07:44:26.056" v="171"/>
          <ac:picMkLst>
            <pc:docMk/>
            <pc:sldMk cId="1609124706" sldId="2049"/>
            <ac:picMk id="21" creationId="{B1652846-1C76-48F1-9096-F77A41D04474}"/>
          </ac:picMkLst>
        </pc:picChg>
        <pc:picChg chg="mod ord">
          <ac:chgData name="Kümmerle, Markus" userId="edb588ad-b118-44cb-93b6-335b967c9009" providerId="ADAL" clId="{C4001F0D-8688-482A-824F-B491D5165291}" dt="2022-04-07T07:44:26.058" v="175"/>
          <ac:picMkLst>
            <pc:docMk/>
            <pc:sldMk cId="1609124706" sldId="2049"/>
            <ac:picMk id="22" creationId="{AB203166-E2F2-45EB-A292-23761997F2CB}"/>
          </ac:picMkLst>
        </pc:picChg>
        <pc:picChg chg="mod ord">
          <ac:chgData name="Kümmerle, Markus" userId="edb588ad-b118-44cb-93b6-335b967c9009" providerId="ADAL" clId="{C4001F0D-8688-482A-824F-B491D5165291}" dt="2022-04-07T07:44:26.058" v="177"/>
          <ac:picMkLst>
            <pc:docMk/>
            <pc:sldMk cId="1609124706" sldId="2049"/>
            <ac:picMk id="23" creationId="{880C27AB-A266-4D16-B6CE-B608468EFA60}"/>
          </ac:picMkLst>
        </pc:picChg>
        <pc:picChg chg="mod ord">
          <ac:chgData name="Kümmerle, Markus" userId="edb588ad-b118-44cb-93b6-335b967c9009" providerId="ADAL" clId="{C4001F0D-8688-482A-824F-B491D5165291}" dt="2022-04-07T07:44:26.060" v="183"/>
          <ac:picMkLst>
            <pc:docMk/>
            <pc:sldMk cId="1609124706" sldId="2049"/>
            <ac:picMk id="24" creationId="{74157A46-D0ED-4A48-A468-6BE44B498445}"/>
          </ac:picMkLst>
        </pc:picChg>
        <pc:picChg chg="mod ord">
          <ac:chgData name="Kümmerle, Markus" userId="edb588ad-b118-44cb-93b6-335b967c9009" providerId="ADAL" clId="{C4001F0D-8688-482A-824F-B491D5165291}" dt="2022-04-07T07:44:26.052" v="157"/>
          <ac:picMkLst>
            <pc:docMk/>
            <pc:sldMk cId="1609124706" sldId="2049"/>
            <ac:picMk id="25" creationId="{FCE70341-DA6B-433E-ADF7-0EAC87493B8F}"/>
          </ac:picMkLst>
        </pc:picChg>
        <pc:picChg chg="mod ord">
          <ac:chgData name="Kümmerle, Markus" userId="edb588ad-b118-44cb-93b6-335b967c9009" providerId="ADAL" clId="{C4001F0D-8688-482A-824F-B491D5165291}" dt="2022-04-07T07:44:26.060" v="185"/>
          <ac:picMkLst>
            <pc:docMk/>
            <pc:sldMk cId="1609124706" sldId="2049"/>
            <ac:picMk id="26" creationId="{335E88DA-64F5-4BCD-AD7E-4709B2A07350}"/>
          </ac:picMkLst>
        </pc:picChg>
        <pc:picChg chg="mod ord">
          <ac:chgData name="Kümmerle, Markus" userId="edb588ad-b118-44cb-93b6-335b967c9009" providerId="ADAL" clId="{C4001F0D-8688-482A-824F-B491D5165291}" dt="2022-04-07T07:44:26.060" v="187"/>
          <ac:picMkLst>
            <pc:docMk/>
            <pc:sldMk cId="1609124706" sldId="2049"/>
            <ac:picMk id="27" creationId="{77138097-FEBD-4AE6-BF7E-2E57C5575FCB}"/>
          </ac:picMkLst>
        </pc:picChg>
        <pc:picChg chg="mod ord">
          <ac:chgData name="Kümmerle, Markus" userId="edb588ad-b118-44cb-93b6-335b967c9009" providerId="ADAL" clId="{C4001F0D-8688-482A-824F-B491D5165291}" dt="2022-04-07T07:44:26.061" v="189"/>
          <ac:picMkLst>
            <pc:docMk/>
            <pc:sldMk cId="1609124706" sldId="2049"/>
            <ac:picMk id="28" creationId="{FDB8DAB5-0016-431A-BDD8-EC9FEAA8C07F}"/>
          </ac:picMkLst>
        </pc:picChg>
        <pc:picChg chg="mod ord">
          <ac:chgData name="Kümmerle, Markus" userId="edb588ad-b118-44cb-93b6-335b967c9009" providerId="ADAL" clId="{C4001F0D-8688-482A-824F-B491D5165291}" dt="2022-04-07T07:45:09.356" v="215" actId="408"/>
          <ac:picMkLst>
            <pc:docMk/>
            <pc:sldMk cId="1609124706" sldId="2049"/>
            <ac:picMk id="29" creationId="{C1EBAE24-FB4D-498A-93F5-9C2F19DA31FF}"/>
          </ac:picMkLst>
        </pc:picChg>
        <pc:picChg chg="mod ord">
          <ac:chgData name="Kümmerle, Markus" userId="edb588ad-b118-44cb-93b6-335b967c9009" providerId="ADAL" clId="{C4001F0D-8688-482A-824F-B491D5165291}" dt="2022-04-07T07:44:26.062" v="193"/>
          <ac:picMkLst>
            <pc:docMk/>
            <pc:sldMk cId="1609124706" sldId="2049"/>
            <ac:picMk id="30" creationId="{DD4AF1C8-29CE-45FB-849A-A4B57CEFF8CE}"/>
          </ac:picMkLst>
        </pc:picChg>
        <pc:picChg chg="mod ord">
          <ac:chgData name="Kümmerle, Markus" userId="edb588ad-b118-44cb-93b6-335b967c9009" providerId="ADAL" clId="{C4001F0D-8688-482A-824F-B491D5165291}" dt="2022-04-07T07:45:09.356" v="215" actId="408"/>
          <ac:picMkLst>
            <pc:docMk/>
            <pc:sldMk cId="1609124706" sldId="2049"/>
            <ac:picMk id="31" creationId="{3683C14C-26D6-42D3-95D4-726159965F25}"/>
          </ac:picMkLst>
        </pc:picChg>
        <pc:picChg chg="mod">
          <ac:chgData name="Kümmerle, Markus" userId="edb588ad-b118-44cb-93b6-335b967c9009" providerId="ADAL" clId="{C4001F0D-8688-482A-824F-B491D5165291}" dt="2022-04-07T07:44:26.063" v="196"/>
          <ac:picMkLst>
            <pc:docMk/>
            <pc:sldMk cId="1609124706" sldId="2049"/>
            <ac:picMk id="32" creationId="{F74AEDDA-C5DB-4CE0-AC60-93E2D36AE504}"/>
          </ac:picMkLst>
        </pc:picChg>
        <pc:picChg chg="add mod ord">
          <ac:chgData name="Kümmerle, Markus" userId="edb588ad-b118-44cb-93b6-335b967c9009" providerId="ADAL" clId="{C4001F0D-8688-482A-824F-B491D5165291}" dt="2022-04-07T07:44:26.064" v="204"/>
          <ac:picMkLst>
            <pc:docMk/>
            <pc:sldMk cId="1609124706" sldId="2049"/>
            <ac:picMk id="33" creationId="{2AF8F179-2BBF-4CC0-8BD8-BD7CC7162137}"/>
          </ac:picMkLst>
        </pc:picChg>
        <pc:picChg chg="add mod ord">
          <ac:chgData name="Kümmerle, Markus" userId="edb588ad-b118-44cb-93b6-335b967c9009" providerId="ADAL" clId="{C4001F0D-8688-482A-824F-B491D5165291}" dt="2022-04-07T07:45:45.320" v="241" actId="1037"/>
          <ac:picMkLst>
            <pc:docMk/>
            <pc:sldMk cId="1609124706" sldId="2049"/>
            <ac:picMk id="34" creationId="{353AFCB8-FB38-4AAE-939F-016AB8747C08}"/>
          </ac:picMkLst>
        </pc:picChg>
        <pc:picChg chg="add mod ord">
          <ac:chgData name="Kümmerle, Markus" userId="edb588ad-b118-44cb-93b6-335b967c9009" providerId="ADAL" clId="{C4001F0D-8688-482A-824F-B491D5165291}" dt="2022-04-07T07:45:09.356" v="215" actId="408"/>
          <ac:picMkLst>
            <pc:docMk/>
            <pc:sldMk cId="1609124706" sldId="2049"/>
            <ac:picMk id="35" creationId="{DA725A87-73F0-42D8-ABE3-59F5A5FF5549}"/>
          </ac:picMkLst>
        </pc:picChg>
        <pc:picChg chg="mod">
          <ac:chgData name="Kümmerle, Markus" userId="edb588ad-b118-44cb-93b6-335b967c9009" providerId="ADAL" clId="{C4001F0D-8688-482A-824F-B491D5165291}" dt="2022-04-07T07:44:26.054" v="164"/>
          <ac:picMkLst>
            <pc:docMk/>
            <pc:sldMk cId="1609124706" sldId="2049"/>
            <ac:picMk id="3088" creationId="{F72A8B7E-732E-4B0C-8588-1320247D45E5}"/>
          </ac:picMkLst>
        </pc:picChg>
        <pc:picChg chg="mod">
          <ac:chgData name="Kümmerle, Markus" userId="edb588ad-b118-44cb-93b6-335b967c9009" providerId="ADAL" clId="{C4001F0D-8688-482A-824F-B491D5165291}" dt="2022-04-07T07:44:26.054" v="165"/>
          <ac:picMkLst>
            <pc:docMk/>
            <pc:sldMk cId="1609124706" sldId="2049"/>
            <ac:picMk id="3089" creationId="{D3BB906B-B65F-4A67-98C4-862449CD2D41}"/>
          </ac:picMkLst>
        </pc:picChg>
        <pc:picChg chg="mod">
          <ac:chgData name="Kümmerle, Markus" userId="edb588ad-b118-44cb-93b6-335b967c9009" providerId="ADAL" clId="{C4001F0D-8688-482A-824F-B491D5165291}" dt="2022-04-07T07:44:26.055" v="166"/>
          <ac:picMkLst>
            <pc:docMk/>
            <pc:sldMk cId="1609124706" sldId="2049"/>
            <ac:picMk id="3090" creationId="{0A489013-040A-4AAF-9AB7-60DA6B72E160}"/>
          </ac:picMkLst>
        </pc:picChg>
        <pc:picChg chg="mod">
          <ac:chgData name="Kümmerle, Markus" userId="edb588ad-b118-44cb-93b6-335b967c9009" providerId="ADAL" clId="{C4001F0D-8688-482A-824F-B491D5165291}" dt="2022-04-07T07:44:26.055" v="167"/>
          <ac:picMkLst>
            <pc:docMk/>
            <pc:sldMk cId="1609124706" sldId="2049"/>
            <ac:picMk id="3093" creationId="{9FDAEF24-BA7D-4E72-B3BE-2D955FC524C1}"/>
          </ac:picMkLst>
        </pc:picChg>
        <pc:picChg chg="mod">
          <ac:chgData name="Kümmerle, Markus" userId="edb588ad-b118-44cb-93b6-335b967c9009" providerId="ADAL" clId="{C4001F0D-8688-482A-824F-B491D5165291}" dt="2022-04-07T07:44:26.056" v="168"/>
          <ac:picMkLst>
            <pc:docMk/>
            <pc:sldMk cId="1609124706" sldId="2049"/>
            <ac:picMk id="3096" creationId="{23C29E29-B331-4CDA-8190-E3995C6D8DA8}"/>
          </ac:picMkLst>
        </pc:picChg>
        <pc:picChg chg="mod">
          <ac:chgData name="Kümmerle, Markus" userId="edb588ad-b118-44cb-93b6-335b967c9009" providerId="ADAL" clId="{C4001F0D-8688-482A-824F-B491D5165291}" dt="2022-04-07T07:45:24.498" v="233" actId="1035"/>
          <ac:picMkLst>
            <pc:docMk/>
            <pc:sldMk cId="1609124706" sldId="2049"/>
            <ac:picMk id="3098" creationId="{7DBDD973-78E3-47C6-8AA8-44941886C608}"/>
          </ac:picMkLst>
        </pc:picChg>
      </pc:sldChg>
      <pc:sldMasterChg chg="modSp mod">
        <pc:chgData name="Kümmerle, Markus" userId="edb588ad-b118-44cb-93b6-335b967c9009" providerId="ADAL" clId="{C4001F0D-8688-482A-824F-B491D5165291}" dt="2022-04-07T07:47:05.469" v="254" actId="20577"/>
        <pc:sldMasterMkLst>
          <pc:docMk/>
          <pc:sldMasterMk cId="792883523" sldId="2147483648"/>
        </pc:sldMasterMkLst>
        <pc:spChg chg="mod">
          <ac:chgData name="Kümmerle, Markus" userId="edb588ad-b118-44cb-93b6-335b967c9009" providerId="ADAL" clId="{C4001F0D-8688-482A-824F-B491D5165291}" dt="2022-04-07T07:47:05.469" v="254"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7D6D8396-EC2A-4CDB-A0EB-D18795447CB1}"/>
    <pc:docChg chg="undo custSel modSld modMainMaster">
      <pc:chgData name="Kümmerle, Markus" userId="edb588ad-b118-44cb-93b6-335b967c9009" providerId="ADAL" clId="{7D6D8396-EC2A-4CDB-A0EB-D18795447CB1}" dt="2022-07-27T12:51:56.581" v="698" actId="20577"/>
      <pc:docMkLst>
        <pc:docMk/>
      </pc:docMkLst>
      <pc:sldChg chg="addSp delSp modSp mod">
        <pc:chgData name="Kümmerle, Markus" userId="edb588ad-b118-44cb-93b6-335b967c9009" providerId="ADAL" clId="{7D6D8396-EC2A-4CDB-A0EB-D18795447CB1}" dt="2022-07-27T12:50:20.672" v="696" actId="1038"/>
        <pc:sldMkLst>
          <pc:docMk/>
          <pc:sldMk cId="1609124706" sldId="2049"/>
        </pc:sldMkLst>
        <pc:spChg chg="mod ord">
          <ac:chgData name="Kümmerle, Markus" userId="edb588ad-b118-44cb-93b6-335b967c9009" providerId="ADAL" clId="{7D6D8396-EC2A-4CDB-A0EB-D18795447CB1}" dt="2022-07-13T11:20:17.610" v="316"/>
          <ac:spMkLst>
            <pc:docMk/>
            <pc:sldMk cId="1609124706" sldId="2049"/>
            <ac:spMk id="2" creationId="{2B73D7CB-E55B-ED4D-A567-274B625D4CEF}"/>
          </ac:spMkLst>
        </pc:spChg>
        <pc:spChg chg="mod ord">
          <ac:chgData name="Kümmerle, Markus" userId="edb588ad-b118-44cb-93b6-335b967c9009" providerId="ADAL" clId="{7D6D8396-EC2A-4CDB-A0EB-D18795447CB1}" dt="2022-07-13T11:20:17.610" v="314"/>
          <ac:spMkLst>
            <pc:docMk/>
            <pc:sldMk cId="1609124706" sldId="2049"/>
            <ac:spMk id="4" creationId="{F21FBA62-7C92-48CE-A159-19EB9B276E15}"/>
          </ac:spMkLst>
        </pc:spChg>
        <pc:spChg chg="mod ord">
          <ac:chgData name="Kümmerle, Markus" userId="edb588ad-b118-44cb-93b6-335b967c9009" providerId="ADAL" clId="{7D6D8396-EC2A-4CDB-A0EB-D18795447CB1}" dt="2022-07-13T11:20:17.609" v="312"/>
          <ac:spMkLst>
            <pc:docMk/>
            <pc:sldMk cId="1609124706" sldId="2049"/>
            <ac:spMk id="17" creationId="{C9C7E6E5-611D-45EA-9A9F-F104F894113F}"/>
          </ac:spMkLst>
        </pc:spChg>
        <pc:graphicFrameChg chg="mod">
          <ac:chgData name="Kümmerle, Markus" userId="edb588ad-b118-44cb-93b6-335b967c9009" providerId="ADAL" clId="{7D6D8396-EC2A-4CDB-A0EB-D18795447CB1}" dt="2022-07-13T11:20:17.634" v="380"/>
          <ac:graphicFrameMkLst>
            <pc:docMk/>
            <pc:sldMk cId="1609124706" sldId="2049"/>
            <ac:graphicFrameMk id="5" creationId="{24EAA83B-388C-42C7-9B96-60997077107C}"/>
          </ac:graphicFrameMkLst>
        </pc:graphicFrameChg>
        <pc:graphicFrameChg chg="add del mod">
          <ac:chgData name="Kümmerle, Markus" userId="edb588ad-b118-44cb-93b6-335b967c9009" providerId="ADAL" clId="{7D6D8396-EC2A-4CDB-A0EB-D18795447CB1}" dt="2022-06-08T11:55:38.347" v="162" actId="478"/>
          <ac:graphicFrameMkLst>
            <pc:docMk/>
            <pc:sldMk cId="1609124706" sldId="2049"/>
            <ac:graphicFrameMk id="11" creationId="{0F3E3A03-0B86-4D80-BBC6-F49B6C6E564A}"/>
          </ac:graphicFrameMkLst>
        </pc:graphicFrameChg>
        <pc:picChg chg="mod ord">
          <ac:chgData name="Kümmerle, Markus" userId="edb588ad-b118-44cb-93b6-335b967c9009" providerId="ADAL" clId="{7D6D8396-EC2A-4CDB-A0EB-D18795447CB1}" dt="2022-07-27T12:50:10.080" v="675" actId="408"/>
          <ac:picMkLst>
            <pc:docMk/>
            <pc:sldMk cId="1609124706" sldId="2049"/>
            <ac:picMk id="6" creationId="{E801FD9D-36B2-4E40-B027-4CB85035AA9C}"/>
          </ac:picMkLst>
        </pc:picChg>
        <pc:picChg chg="mod ord">
          <ac:chgData name="Kümmerle, Markus" userId="edb588ad-b118-44cb-93b6-335b967c9009" providerId="ADAL" clId="{7D6D8396-EC2A-4CDB-A0EB-D18795447CB1}" dt="2022-07-13T11:27:33.656" v="479" actId="408"/>
          <ac:picMkLst>
            <pc:docMk/>
            <pc:sldMk cId="1609124706" sldId="2049"/>
            <ac:picMk id="7" creationId="{A55850A9-4D08-40D3-BE1B-EC8002332372}"/>
          </ac:picMkLst>
        </pc:picChg>
        <pc:picChg chg="mod ord">
          <ac:chgData name="Kümmerle, Markus" userId="edb588ad-b118-44cb-93b6-335b967c9009" providerId="ADAL" clId="{7D6D8396-EC2A-4CDB-A0EB-D18795447CB1}" dt="2022-07-13T11:27:33.656" v="479" actId="408"/>
          <ac:picMkLst>
            <pc:docMk/>
            <pc:sldMk cId="1609124706" sldId="2049"/>
            <ac:picMk id="8" creationId="{183685A2-5DC3-47D9-9FE3-49DCA1C005FB}"/>
          </ac:picMkLst>
        </pc:picChg>
        <pc:picChg chg="add mod ord">
          <ac:chgData name="Kümmerle, Markus" userId="edb588ad-b118-44cb-93b6-335b967c9009" providerId="ADAL" clId="{7D6D8396-EC2A-4CDB-A0EB-D18795447CB1}" dt="2022-07-27T12:39:26.391" v="584" actId="408"/>
          <ac:picMkLst>
            <pc:docMk/>
            <pc:sldMk cId="1609124706" sldId="2049"/>
            <ac:picMk id="9" creationId="{5BCA16A2-D997-4798-9DA5-F79048E137FE}"/>
          </ac:picMkLst>
        </pc:picChg>
        <pc:picChg chg="mod ord">
          <ac:chgData name="Kümmerle, Markus" userId="edb588ad-b118-44cb-93b6-335b967c9009" providerId="ADAL" clId="{7D6D8396-EC2A-4CDB-A0EB-D18795447CB1}" dt="2022-07-27T12:39:18.696" v="583" actId="12789"/>
          <ac:picMkLst>
            <pc:docMk/>
            <pc:sldMk cId="1609124706" sldId="2049"/>
            <ac:picMk id="10" creationId="{CA29AE2B-3A81-4E25-9A14-7D592817984B}"/>
          </ac:picMkLst>
        </pc:picChg>
        <pc:picChg chg="add mod">
          <ac:chgData name="Kümmerle, Markus" userId="edb588ad-b118-44cb-93b6-335b967c9009" providerId="ADAL" clId="{7D6D8396-EC2A-4CDB-A0EB-D18795447CB1}" dt="2022-07-27T12:50:10.080" v="675" actId="408"/>
          <ac:picMkLst>
            <pc:docMk/>
            <pc:sldMk cId="1609124706" sldId="2049"/>
            <ac:picMk id="11" creationId="{897567D8-9C10-40E0-847D-E55A4C90178D}"/>
          </ac:picMkLst>
        </pc:picChg>
        <pc:picChg chg="mod ord">
          <ac:chgData name="Kümmerle, Markus" userId="edb588ad-b118-44cb-93b6-335b967c9009" providerId="ADAL" clId="{7D6D8396-EC2A-4CDB-A0EB-D18795447CB1}" dt="2022-07-27T12:50:20.672" v="696" actId="1038"/>
          <ac:picMkLst>
            <pc:docMk/>
            <pc:sldMk cId="1609124706" sldId="2049"/>
            <ac:picMk id="12" creationId="{08C621FC-DC50-4B73-A9EB-23E1EA12C64D}"/>
          </ac:picMkLst>
        </pc:picChg>
        <pc:picChg chg="add mod ord">
          <ac:chgData name="Kümmerle, Markus" userId="edb588ad-b118-44cb-93b6-335b967c9009" providerId="ADAL" clId="{7D6D8396-EC2A-4CDB-A0EB-D18795447CB1}" dt="2022-07-27T12:42:00.169" v="608" actId="1038"/>
          <ac:picMkLst>
            <pc:docMk/>
            <pc:sldMk cId="1609124706" sldId="2049"/>
            <ac:picMk id="14" creationId="{DB9D9B4D-E3DA-446C-B06D-A04F656AD7FE}"/>
          </ac:picMkLst>
        </pc:picChg>
        <pc:picChg chg="add mod">
          <ac:chgData name="Kümmerle, Markus" userId="edb588ad-b118-44cb-93b6-335b967c9009" providerId="ADAL" clId="{7D6D8396-EC2A-4CDB-A0EB-D18795447CB1}" dt="2022-07-27T12:50:17.025" v="687" actId="1038"/>
          <ac:picMkLst>
            <pc:docMk/>
            <pc:sldMk cId="1609124706" sldId="2049"/>
            <ac:picMk id="15" creationId="{C96A23AD-90E9-4DB1-9250-AF41B60BA2A4}"/>
          </ac:picMkLst>
        </pc:picChg>
        <pc:picChg chg="mod ord">
          <ac:chgData name="Kümmerle, Markus" userId="edb588ad-b118-44cb-93b6-335b967c9009" providerId="ADAL" clId="{7D6D8396-EC2A-4CDB-A0EB-D18795447CB1}" dt="2022-07-27T12:39:26.391" v="584" actId="408"/>
          <ac:picMkLst>
            <pc:docMk/>
            <pc:sldMk cId="1609124706" sldId="2049"/>
            <ac:picMk id="20" creationId="{00278130-6A13-4C98-8848-0032F0E95D5B}"/>
          </ac:picMkLst>
        </pc:picChg>
        <pc:picChg chg="mod ord">
          <ac:chgData name="Kümmerle, Markus" userId="edb588ad-b118-44cb-93b6-335b967c9009" providerId="ADAL" clId="{7D6D8396-EC2A-4CDB-A0EB-D18795447CB1}" dt="2022-07-13T11:20:17.613" v="323"/>
          <ac:picMkLst>
            <pc:docMk/>
            <pc:sldMk cId="1609124706" sldId="2049"/>
            <ac:picMk id="21" creationId="{B1652846-1C76-48F1-9096-F77A41D04474}"/>
          </ac:picMkLst>
        </pc:picChg>
        <pc:picChg chg="mod ord">
          <ac:chgData name="Kümmerle, Markus" userId="edb588ad-b118-44cb-93b6-335b967c9009" providerId="ADAL" clId="{7D6D8396-EC2A-4CDB-A0EB-D18795447CB1}" dt="2022-07-27T12:39:26.391" v="584" actId="408"/>
          <ac:picMkLst>
            <pc:docMk/>
            <pc:sldMk cId="1609124706" sldId="2049"/>
            <ac:picMk id="22" creationId="{AB203166-E2F2-45EB-A292-23761997F2CB}"/>
          </ac:picMkLst>
        </pc:picChg>
        <pc:picChg chg="mod ord">
          <ac:chgData name="Kümmerle, Markus" userId="edb588ad-b118-44cb-93b6-335b967c9009" providerId="ADAL" clId="{7D6D8396-EC2A-4CDB-A0EB-D18795447CB1}" dt="2022-07-13T11:27:33.656" v="479" actId="408"/>
          <ac:picMkLst>
            <pc:docMk/>
            <pc:sldMk cId="1609124706" sldId="2049"/>
            <ac:picMk id="23" creationId="{880C27AB-A266-4D16-B6CE-B608468EFA60}"/>
          </ac:picMkLst>
        </pc:picChg>
        <pc:picChg chg="mod ord">
          <ac:chgData name="Kümmerle, Markus" userId="edb588ad-b118-44cb-93b6-335b967c9009" providerId="ADAL" clId="{7D6D8396-EC2A-4CDB-A0EB-D18795447CB1}" dt="2022-07-13T11:29:16.302" v="535" actId="1037"/>
          <ac:picMkLst>
            <pc:docMk/>
            <pc:sldMk cId="1609124706" sldId="2049"/>
            <ac:picMk id="24" creationId="{74157A46-D0ED-4A48-A468-6BE44B498445}"/>
          </ac:picMkLst>
        </pc:picChg>
        <pc:picChg chg="mod ord">
          <ac:chgData name="Kümmerle, Markus" userId="edb588ad-b118-44cb-93b6-335b967c9009" providerId="ADAL" clId="{7D6D8396-EC2A-4CDB-A0EB-D18795447CB1}" dt="2022-07-13T11:20:17.608" v="310"/>
          <ac:picMkLst>
            <pc:docMk/>
            <pc:sldMk cId="1609124706" sldId="2049"/>
            <ac:picMk id="25" creationId="{FCE70341-DA6B-433E-ADF7-0EAC87493B8F}"/>
          </ac:picMkLst>
        </pc:picChg>
        <pc:picChg chg="mod ord">
          <ac:chgData name="Kümmerle, Markus" userId="edb588ad-b118-44cb-93b6-335b967c9009" providerId="ADAL" clId="{7D6D8396-EC2A-4CDB-A0EB-D18795447CB1}" dt="2022-07-27T12:50:06.046" v="674" actId="12789"/>
          <ac:picMkLst>
            <pc:docMk/>
            <pc:sldMk cId="1609124706" sldId="2049"/>
            <ac:picMk id="26" creationId="{335E88DA-64F5-4BCD-AD7E-4709B2A07350}"/>
          </ac:picMkLst>
        </pc:picChg>
        <pc:picChg chg="mod ord">
          <ac:chgData name="Kümmerle, Markus" userId="edb588ad-b118-44cb-93b6-335b967c9009" providerId="ADAL" clId="{7D6D8396-EC2A-4CDB-A0EB-D18795447CB1}" dt="2022-07-27T12:39:26.391" v="584" actId="408"/>
          <ac:picMkLst>
            <pc:docMk/>
            <pc:sldMk cId="1609124706" sldId="2049"/>
            <ac:picMk id="27" creationId="{77138097-FEBD-4AE6-BF7E-2E57C5575FCB}"/>
          </ac:picMkLst>
        </pc:picChg>
        <pc:picChg chg="mod ord">
          <ac:chgData name="Kümmerle, Markus" userId="edb588ad-b118-44cb-93b6-335b967c9009" providerId="ADAL" clId="{7D6D8396-EC2A-4CDB-A0EB-D18795447CB1}" dt="2022-07-13T11:29:11.833" v="513" actId="1037"/>
          <ac:picMkLst>
            <pc:docMk/>
            <pc:sldMk cId="1609124706" sldId="2049"/>
            <ac:picMk id="28" creationId="{FDB8DAB5-0016-431A-BDD8-EC9FEAA8C07F}"/>
          </ac:picMkLst>
        </pc:picChg>
        <pc:picChg chg="mod ord">
          <ac:chgData name="Kümmerle, Markus" userId="edb588ad-b118-44cb-93b6-335b967c9009" providerId="ADAL" clId="{7D6D8396-EC2A-4CDB-A0EB-D18795447CB1}" dt="2022-07-13T11:20:17.618" v="343"/>
          <ac:picMkLst>
            <pc:docMk/>
            <pc:sldMk cId="1609124706" sldId="2049"/>
            <ac:picMk id="29" creationId="{C1EBAE24-FB4D-498A-93F5-9C2F19DA31FF}"/>
          </ac:picMkLst>
        </pc:picChg>
        <pc:picChg chg="mod ord">
          <ac:chgData name="Kümmerle, Markus" userId="edb588ad-b118-44cb-93b6-335b967c9009" providerId="ADAL" clId="{7D6D8396-EC2A-4CDB-A0EB-D18795447CB1}" dt="2022-07-13T11:29:21.078" v="556" actId="1037"/>
          <ac:picMkLst>
            <pc:docMk/>
            <pc:sldMk cId="1609124706" sldId="2049"/>
            <ac:picMk id="30" creationId="{DD4AF1C8-29CE-45FB-849A-A4B57CEFF8CE}"/>
          </ac:picMkLst>
        </pc:picChg>
        <pc:picChg chg="mod ord">
          <ac:chgData name="Kümmerle, Markus" userId="edb588ad-b118-44cb-93b6-335b967c9009" providerId="ADAL" clId="{7D6D8396-EC2A-4CDB-A0EB-D18795447CB1}" dt="2022-07-27T12:50:10.080" v="675" actId="408"/>
          <ac:picMkLst>
            <pc:docMk/>
            <pc:sldMk cId="1609124706" sldId="2049"/>
            <ac:picMk id="31" creationId="{3683C14C-26D6-42D3-95D4-726159965F25}"/>
          </ac:picMkLst>
        </pc:picChg>
        <pc:picChg chg="mod">
          <ac:chgData name="Kümmerle, Markus" userId="edb588ad-b118-44cb-93b6-335b967c9009" providerId="ADAL" clId="{7D6D8396-EC2A-4CDB-A0EB-D18795447CB1}" dt="2022-07-13T11:27:33.656" v="479" actId="408"/>
          <ac:picMkLst>
            <pc:docMk/>
            <pc:sldMk cId="1609124706" sldId="2049"/>
            <ac:picMk id="32" creationId="{F74AEDDA-C5DB-4CE0-AC60-93E2D36AE504}"/>
          </ac:picMkLst>
        </pc:picChg>
        <pc:picChg chg="mod ord">
          <ac:chgData name="Kümmerle, Markus" userId="edb588ad-b118-44cb-93b6-335b967c9009" providerId="ADAL" clId="{7D6D8396-EC2A-4CDB-A0EB-D18795447CB1}" dt="2022-07-13T11:27:33.656" v="479" actId="408"/>
          <ac:picMkLst>
            <pc:docMk/>
            <pc:sldMk cId="1609124706" sldId="2049"/>
            <ac:picMk id="33" creationId="{2AF8F179-2BBF-4CC0-8BD8-BD7CC7162137}"/>
          </ac:picMkLst>
        </pc:picChg>
        <pc:picChg chg="mod ord">
          <ac:chgData name="Kümmerle, Markus" userId="edb588ad-b118-44cb-93b6-335b967c9009" providerId="ADAL" clId="{7D6D8396-EC2A-4CDB-A0EB-D18795447CB1}" dt="2022-07-27T12:39:26.391" v="584" actId="408"/>
          <ac:picMkLst>
            <pc:docMk/>
            <pc:sldMk cId="1609124706" sldId="2049"/>
            <ac:picMk id="34" creationId="{353AFCB8-FB38-4AAE-939F-016AB8747C08}"/>
          </ac:picMkLst>
        </pc:picChg>
        <pc:picChg chg="mod ord">
          <ac:chgData name="Kümmerle, Markus" userId="edb588ad-b118-44cb-93b6-335b967c9009" providerId="ADAL" clId="{7D6D8396-EC2A-4CDB-A0EB-D18795447CB1}" dt="2022-07-27T12:42:14.746" v="662" actId="1038"/>
          <ac:picMkLst>
            <pc:docMk/>
            <pc:sldMk cId="1609124706" sldId="2049"/>
            <ac:picMk id="35" creationId="{DA725A87-73F0-42D8-ABE3-59F5A5FF5549}"/>
          </ac:picMkLst>
        </pc:picChg>
        <pc:picChg chg="add mod ord">
          <ac:chgData name="Kümmerle, Markus" userId="edb588ad-b118-44cb-93b6-335b967c9009" providerId="ADAL" clId="{7D6D8396-EC2A-4CDB-A0EB-D18795447CB1}" dt="2022-07-27T12:42:10.238" v="646" actId="1038"/>
          <ac:picMkLst>
            <pc:docMk/>
            <pc:sldMk cId="1609124706" sldId="2049"/>
            <ac:picMk id="36" creationId="{E43EAA71-6EA0-43FE-8AEC-8F75706271CC}"/>
          </ac:picMkLst>
        </pc:picChg>
        <pc:picChg chg="add mod ord">
          <ac:chgData name="Kümmerle, Markus" userId="edb588ad-b118-44cb-93b6-335b967c9009" providerId="ADAL" clId="{7D6D8396-EC2A-4CDB-A0EB-D18795447CB1}" dt="2022-07-13T11:20:17.622" v="362"/>
          <ac:picMkLst>
            <pc:docMk/>
            <pc:sldMk cId="1609124706" sldId="2049"/>
            <ac:picMk id="37" creationId="{654B3E70-B34C-4110-8AA0-5D832134C0C5}"/>
          </ac:picMkLst>
        </pc:picChg>
        <pc:picChg chg="add mod ord">
          <ac:chgData name="Kümmerle, Markus" userId="edb588ad-b118-44cb-93b6-335b967c9009" providerId="ADAL" clId="{7D6D8396-EC2A-4CDB-A0EB-D18795447CB1}" dt="2022-07-27T12:42:18.631" v="670" actId="1038"/>
          <ac:picMkLst>
            <pc:docMk/>
            <pc:sldMk cId="1609124706" sldId="2049"/>
            <ac:picMk id="38" creationId="{CC50274A-9DC8-4873-A5BF-2546543700B3}"/>
          </ac:picMkLst>
        </pc:picChg>
        <pc:picChg chg="add del mod">
          <ac:chgData name="Kümmerle, Markus" userId="edb588ad-b118-44cb-93b6-335b967c9009" providerId="ADAL" clId="{7D6D8396-EC2A-4CDB-A0EB-D18795447CB1}" dt="2022-06-08T11:55:54.025" v="167" actId="478"/>
          <ac:picMkLst>
            <pc:docMk/>
            <pc:sldMk cId="1609124706" sldId="2049"/>
            <ac:picMk id="38" creationId="{D3AC39CD-B17D-4B45-9059-A96D4CB26656}"/>
          </ac:picMkLst>
        </pc:picChg>
        <pc:picChg chg="add del mod">
          <ac:chgData name="Kümmerle, Markus" userId="edb588ad-b118-44cb-93b6-335b967c9009" providerId="ADAL" clId="{7D6D8396-EC2A-4CDB-A0EB-D18795447CB1}" dt="2022-06-08T11:52:47.826" v="138" actId="478"/>
          <ac:picMkLst>
            <pc:docMk/>
            <pc:sldMk cId="1609124706" sldId="2049"/>
            <ac:picMk id="39" creationId="{0EEDB271-756B-4D38-BFB9-33DE6CF116F8}"/>
          </ac:picMkLst>
        </pc:picChg>
        <pc:picChg chg="add mod ord">
          <ac:chgData name="Kümmerle, Markus" userId="edb588ad-b118-44cb-93b6-335b967c9009" providerId="ADAL" clId="{7D6D8396-EC2A-4CDB-A0EB-D18795447CB1}" dt="2022-07-13T11:27:33.656" v="479" actId="408"/>
          <ac:picMkLst>
            <pc:docMk/>
            <pc:sldMk cId="1609124706" sldId="2049"/>
            <ac:picMk id="39" creationId="{6C1ADF0C-2306-45E4-86B8-CC54467F1CF9}"/>
          </ac:picMkLst>
        </pc:picChg>
        <pc:picChg chg="add mod ord">
          <ac:chgData name="Kümmerle, Markus" userId="edb588ad-b118-44cb-93b6-335b967c9009" providerId="ADAL" clId="{7D6D8396-EC2A-4CDB-A0EB-D18795447CB1}" dt="2022-07-27T12:39:18.696" v="583" actId="12789"/>
          <ac:picMkLst>
            <pc:docMk/>
            <pc:sldMk cId="1609124706" sldId="2049"/>
            <ac:picMk id="40" creationId="{90595A52-DE01-492E-B229-E2F38411C4D2}"/>
          </ac:picMkLst>
        </pc:picChg>
        <pc:picChg chg="add mod ord">
          <ac:chgData name="Kümmerle, Markus" userId="edb588ad-b118-44cb-93b6-335b967c9009" providerId="ADAL" clId="{7D6D8396-EC2A-4CDB-A0EB-D18795447CB1}" dt="2022-07-13T11:28:59.492" v="493" actId="12789"/>
          <ac:picMkLst>
            <pc:docMk/>
            <pc:sldMk cId="1609124706" sldId="2049"/>
            <ac:picMk id="41" creationId="{1E6DFB7C-413E-4DF7-B981-91502D8AA15E}"/>
          </ac:picMkLst>
        </pc:picChg>
        <pc:picChg chg="add mod ord">
          <ac:chgData name="Kümmerle, Markus" userId="edb588ad-b118-44cb-93b6-335b967c9009" providerId="ADAL" clId="{7D6D8396-EC2A-4CDB-A0EB-D18795447CB1}" dt="2022-07-27T12:50:06.046" v="674" actId="12789"/>
          <ac:picMkLst>
            <pc:docMk/>
            <pc:sldMk cId="1609124706" sldId="2049"/>
            <ac:picMk id="42" creationId="{E0D09212-E342-4915-9642-4F5303BD8807}"/>
          </ac:picMkLst>
        </pc:picChg>
        <pc:picChg chg="mod">
          <ac:chgData name="Kümmerle, Markus" userId="edb588ad-b118-44cb-93b6-335b967c9009" providerId="ADAL" clId="{7D6D8396-EC2A-4CDB-A0EB-D18795447CB1}" dt="2022-07-13T11:29:26.484" v="573" actId="1037"/>
          <ac:picMkLst>
            <pc:docMk/>
            <pc:sldMk cId="1609124706" sldId="2049"/>
            <ac:picMk id="3088" creationId="{F72A8B7E-732E-4B0C-8588-1320247D45E5}"/>
          </ac:picMkLst>
        </pc:picChg>
        <pc:picChg chg="mod">
          <ac:chgData name="Kümmerle, Markus" userId="edb588ad-b118-44cb-93b6-335b967c9009" providerId="ADAL" clId="{7D6D8396-EC2A-4CDB-A0EB-D18795447CB1}" dt="2022-07-13T11:27:33.656" v="479" actId="408"/>
          <ac:picMkLst>
            <pc:docMk/>
            <pc:sldMk cId="1609124706" sldId="2049"/>
            <ac:picMk id="3089" creationId="{D3BB906B-B65F-4A67-98C4-862449CD2D41}"/>
          </ac:picMkLst>
        </pc:picChg>
        <pc:picChg chg="del">
          <ac:chgData name="Kümmerle, Markus" userId="edb588ad-b118-44cb-93b6-335b967c9009" providerId="ADAL" clId="{7D6D8396-EC2A-4CDB-A0EB-D18795447CB1}" dt="2022-05-11T08:45:48.791" v="84" actId="478"/>
          <ac:picMkLst>
            <pc:docMk/>
            <pc:sldMk cId="1609124706" sldId="2049"/>
            <ac:picMk id="3090" creationId="{0A489013-040A-4AAF-9AB7-60DA6B72E160}"/>
          </ac:picMkLst>
        </pc:picChg>
        <pc:picChg chg="mod">
          <ac:chgData name="Kümmerle, Markus" userId="edb588ad-b118-44cb-93b6-335b967c9009" providerId="ADAL" clId="{7D6D8396-EC2A-4CDB-A0EB-D18795447CB1}" dt="2022-07-13T11:28:59.492" v="493" actId="12789"/>
          <ac:picMkLst>
            <pc:docMk/>
            <pc:sldMk cId="1609124706" sldId="2049"/>
            <ac:picMk id="3093" creationId="{9FDAEF24-BA7D-4E72-B3BE-2D955FC524C1}"/>
          </ac:picMkLst>
        </pc:picChg>
        <pc:picChg chg="del mod">
          <ac:chgData name="Kümmerle, Markus" userId="edb588ad-b118-44cb-93b6-335b967c9009" providerId="ADAL" clId="{7D6D8396-EC2A-4CDB-A0EB-D18795447CB1}" dt="2022-07-27T12:41:37.024" v="596" actId="478"/>
          <ac:picMkLst>
            <pc:docMk/>
            <pc:sldMk cId="1609124706" sldId="2049"/>
            <ac:picMk id="3096" creationId="{23C29E29-B331-4CDA-8190-E3995C6D8DA8}"/>
          </ac:picMkLst>
        </pc:picChg>
        <pc:picChg chg="mod">
          <ac:chgData name="Kümmerle, Markus" userId="edb588ad-b118-44cb-93b6-335b967c9009" providerId="ADAL" clId="{7D6D8396-EC2A-4CDB-A0EB-D18795447CB1}" dt="2022-07-27T12:42:05.301" v="627" actId="1038"/>
          <ac:picMkLst>
            <pc:docMk/>
            <pc:sldMk cId="1609124706" sldId="2049"/>
            <ac:picMk id="3098" creationId="{7DBDD973-78E3-47C6-8AA8-44941886C608}"/>
          </ac:picMkLst>
        </pc:picChg>
      </pc:sldChg>
      <pc:sldMasterChg chg="modSp mod">
        <pc:chgData name="Kümmerle, Markus" userId="edb588ad-b118-44cb-93b6-335b967c9009" providerId="ADAL" clId="{7D6D8396-EC2A-4CDB-A0EB-D18795447CB1}" dt="2022-07-27T12:51:56.581" v="698" actId="20577"/>
        <pc:sldMasterMkLst>
          <pc:docMk/>
          <pc:sldMasterMk cId="792883523" sldId="2147483648"/>
        </pc:sldMasterMkLst>
        <pc:spChg chg="mod">
          <ac:chgData name="Kümmerle, Markus" userId="edb588ad-b118-44cb-93b6-335b967c9009" providerId="ADAL" clId="{7D6D8396-EC2A-4CDB-A0EB-D18795447CB1}" dt="2022-07-27T12:51:56.581" v="698" actId="20577"/>
          <ac:spMkLst>
            <pc:docMk/>
            <pc:sldMasterMk cId="792883523" sldId="2147483648"/>
            <ac:spMk id="42" creationId="{45454B20-5506-4078-B4BE-04E554143E72}"/>
          </ac:spMkLst>
        </pc:spChg>
      </pc:sldMaster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Damker, Herbert" userId="37ff36be-0e4d-42c3-ac06-7b904f0f6b24" providerId="ADAL" clId="{30F9A841-FD60-1245-9908-0C03380509C2}"/>
    <pc:docChg chg="modSld">
      <pc:chgData name="Damker, Herbert" userId="37ff36be-0e4d-42c3-ac06-7b904f0f6b24" providerId="ADAL" clId="{30F9A841-FD60-1245-9908-0C03380509C2}" dt="2022-09-20T07:41:47.171" v="2"/>
      <pc:docMkLst>
        <pc:docMk/>
      </pc:docMkLst>
      <pc:sldChg chg="addSp delSp modSp mod">
        <pc:chgData name="Damker, Herbert" userId="37ff36be-0e4d-42c3-ac06-7b904f0f6b24" providerId="ADAL" clId="{30F9A841-FD60-1245-9908-0C03380509C2}" dt="2022-09-20T07:41:47.171" v="2"/>
        <pc:sldMkLst>
          <pc:docMk/>
          <pc:sldMk cId="3162489601" sldId="2050"/>
        </pc:sldMkLst>
        <pc:spChg chg="add del mod">
          <ac:chgData name="Damker, Herbert" userId="37ff36be-0e4d-42c3-ac06-7b904f0f6b24" providerId="ADAL" clId="{30F9A841-FD60-1245-9908-0C03380509C2}" dt="2022-09-20T07:41:47.171" v="2"/>
          <ac:spMkLst>
            <pc:docMk/>
            <pc:sldMk cId="3162489601" sldId="2050"/>
            <ac:spMk id="2" creationId="{FDF52370-6C87-91FB-4B52-C3B0E1EB29A8}"/>
          </ac:spMkLst>
        </pc:spChg>
      </pc:sldChg>
    </pc:docChg>
  </pc:docChgLst>
  <pc:docChgLst>
    <pc:chgData name="Kümmerle, Markus" userId="edb588ad-b118-44cb-93b6-335b967c9009" providerId="ADAL" clId="{51855EB8-7EB1-4BF7-9706-E3D91595E0E3}"/>
    <pc:docChg chg="custSel modSld modMainMaster">
      <pc:chgData name="Kümmerle, Markus" userId="edb588ad-b118-44cb-93b6-335b967c9009" providerId="ADAL" clId="{51855EB8-7EB1-4BF7-9706-E3D91595E0E3}" dt="2022-09-30T08:22:05.974" v="271" actId="20577"/>
      <pc:docMkLst>
        <pc:docMk/>
      </pc:docMkLst>
      <pc:sldChg chg="addSp delSp modSp mod">
        <pc:chgData name="Kümmerle, Markus" userId="edb588ad-b118-44cb-93b6-335b967c9009" providerId="ADAL" clId="{51855EB8-7EB1-4BF7-9706-E3D91595E0E3}" dt="2022-09-15T13:58:47.079" v="4" actId="1076"/>
        <pc:sldMkLst>
          <pc:docMk/>
          <pc:sldMk cId="3888384040" sldId="474"/>
        </pc:sldMkLst>
        <pc:spChg chg="del">
          <ac:chgData name="Kümmerle, Markus" userId="edb588ad-b118-44cb-93b6-335b967c9009" providerId="ADAL" clId="{51855EB8-7EB1-4BF7-9706-E3D91595E0E3}" dt="2022-09-15T13:58:30.719" v="0" actId="478"/>
          <ac:spMkLst>
            <pc:docMk/>
            <pc:sldMk cId="3888384040" sldId="474"/>
            <ac:spMk id="18" creationId="{2C0C6119-263A-449E-8F4A-DC5D962180D9}"/>
          </ac:spMkLst>
        </pc:spChg>
        <pc:spChg chg="del">
          <ac:chgData name="Kümmerle, Markus" userId="edb588ad-b118-44cb-93b6-335b967c9009" providerId="ADAL" clId="{51855EB8-7EB1-4BF7-9706-E3D91595E0E3}" dt="2022-09-15T13:58:30.719" v="0" actId="478"/>
          <ac:spMkLst>
            <pc:docMk/>
            <pc:sldMk cId="3888384040" sldId="474"/>
            <ac:spMk id="21" creationId="{73CCF7B6-A4BD-4216-A673-7C2A504A1487}"/>
          </ac:spMkLst>
        </pc:spChg>
        <pc:picChg chg="add mod">
          <ac:chgData name="Kümmerle, Markus" userId="edb588ad-b118-44cb-93b6-335b967c9009" providerId="ADAL" clId="{51855EB8-7EB1-4BF7-9706-E3D91595E0E3}" dt="2022-09-15T13:58:47.079" v="4" actId="1076"/>
          <ac:picMkLst>
            <pc:docMk/>
            <pc:sldMk cId="3888384040" sldId="474"/>
            <ac:picMk id="22" creationId="{77237022-EE65-4386-BA08-1E346446B16E}"/>
          </ac:picMkLst>
        </pc:picChg>
      </pc:sldChg>
      <pc:sldChg chg="addSp delSp modSp mod">
        <pc:chgData name="Kümmerle, Markus" userId="edb588ad-b118-44cb-93b6-335b967c9009" providerId="ADAL" clId="{51855EB8-7EB1-4BF7-9706-E3D91595E0E3}" dt="2022-09-15T14:00:32.895" v="17" actId="1076"/>
        <pc:sldMkLst>
          <pc:docMk/>
          <pc:sldMk cId="3979989977" sldId="944"/>
        </pc:sldMkLst>
        <pc:picChg chg="add mod">
          <ac:chgData name="Kümmerle, Markus" userId="edb588ad-b118-44cb-93b6-335b967c9009" providerId="ADAL" clId="{51855EB8-7EB1-4BF7-9706-E3D91595E0E3}" dt="2022-09-15T14:00:32.895" v="17" actId="1076"/>
          <ac:picMkLst>
            <pc:docMk/>
            <pc:sldMk cId="3979989977" sldId="944"/>
            <ac:picMk id="3" creationId="{7072E4F5-C39E-4EB9-AD2F-326DD2A2F508}"/>
          </ac:picMkLst>
        </pc:picChg>
        <pc:picChg chg="del">
          <ac:chgData name="Kümmerle, Markus" userId="edb588ad-b118-44cb-93b6-335b967c9009" providerId="ADAL" clId="{51855EB8-7EB1-4BF7-9706-E3D91595E0E3}" dt="2022-09-15T14:00:23.837" v="15" actId="478"/>
          <ac:picMkLst>
            <pc:docMk/>
            <pc:sldMk cId="3979989977" sldId="944"/>
            <ac:picMk id="6" creationId="{2959DBD4-ADF9-460B-B8FD-37C84185BA2A}"/>
          </ac:picMkLst>
        </pc:picChg>
      </pc:sldChg>
      <pc:sldChg chg="delSp mod">
        <pc:chgData name="Kümmerle, Markus" userId="edb588ad-b118-44cb-93b6-335b967c9009" providerId="ADAL" clId="{51855EB8-7EB1-4BF7-9706-E3D91595E0E3}" dt="2022-09-15T13:59:49.025" v="10" actId="478"/>
        <pc:sldMkLst>
          <pc:docMk/>
          <pc:sldMk cId="2299967801" sldId="2047"/>
        </pc:sldMkLst>
        <pc:picChg chg="del">
          <ac:chgData name="Kümmerle, Markus" userId="edb588ad-b118-44cb-93b6-335b967c9009" providerId="ADAL" clId="{51855EB8-7EB1-4BF7-9706-E3D91595E0E3}" dt="2022-09-15T13:59:49.025" v="10" actId="478"/>
          <ac:picMkLst>
            <pc:docMk/>
            <pc:sldMk cId="2299967801" sldId="2047"/>
            <ac:picMk id="114" creationId="{F45B3CE0-A2F2-4BEE-801E-6E21B5FA5B84}"/>
          </ac:picMkLst>
        </pc:picChg>
      </pc:sldChg>
      <pc:sldChg chg="addSp delSp modSp mod">
        <pc:chgData name="Kümmerle, Markus" userId="edb588ad-b118-44cb-93b6-335b967c9009" providerId="ADAL" clId="{51855EB8-7EB1-4BF7-9706-E3D91595E0E3}" dt="2022-09-30T08:21:29.361" v="269" actId="408"/>
        <pc:sldMkLst>
          <pc:docMk/>
          <pc:sldMk cId="1609124706" sldId="2049"/>
        </pc:sldMkLst>
        <pc:picChg chg="mod">
          <ac:chgData name="Kümmerle, Markus" userId="edb588ad-b118-44cb-93b6-335b967c9009" providerId="ADAL" clId="{51855EB8-7EB1-4BF7-9706-E3D91595E0E3}" dt="2022-09-30T08:20:55.326" v="266" actId="408"/>
          <ac:picMkLst>
            <pc:docMk/>
            <pc:sldMk cId="1609124706" sldId="2049"/>
            <ac:picMk id="6" creationId="{E801FD9D-36B2-4E40-B027-4CB85035AA9C}"/>
          </ac:picMkLst>
        </pc:picChg>
        <pc:picChg chg="mod">
          <ac:chgData name="Kümmerle, Markus" userId="edb588ad-b118-44cb-93b6-335b967c9009" providerId="ADAL" clId="{51855EB8-7EB1-4BF7-9706-E3D91595E0E3}" dt="2022-09-30T08:17:24.240" v="163" actId="1035"/>
          <ac:picMkLst>
            <pc:docMk/>
            <pc:sldMk cId="1609124706" sldId="2049"/>
            <ac:picMk id="7" creationId="{A55850A9-4D08-40D3-BE1B-EC8002332372}"/>
          </ac:picMkLst>
        </pc:picChg>
        <pc:picChg chg="mod">
          <ac:chgData name="Kümmerle, Markus" userId="edb588ad-b118-44cb-93b6-335b967c9009" providerId="ADAL" clId="{51855EB8-7EB1-4BF7-9706-E3D91595E0E3}" dt="2022-09-30T08:17:24.240" v="163" actId="1035"/>
          <ac:picMkLst>
            <pc:docMk/>
            <pc:sldMk cId="1609124706" sldId="2049"/>
            <ac:picMk id="8" creationId="{183685A2-5DC3-47D9-9FE3-49DCA1C005FB}"/>
          </ac:picMkLst>
        </pc:picChg>
        <pc:picChg chg="mod">
          <ac:chgData name="Kümmerle, Markus" userId="edb588ad-b118-44cb-93b6-335b967c9009" providerId="ADAL" clId="{51855EB8-7EB1-4BF7-9706-E3D91595E0E3}" dt="2022-09-30T08:18:19.314" v="251" actId="1035"/>
          <ac:picMkLst>
            <pc:docMk/>
            <pc:sldMk cId="1609124706" sldId="2049"/>
            <ac:picMk id="9" creationId="{5BCA16A2-D997-4798-9DA5-F79048E137FE}"/>
          </ac:picMkLst>
        </pc:picChg>
        <pc:picChg chg="mod">
          <ac:chgData name="Kümmerle, Markus" userId="edb588ad-b118-44cb-93b6-335b967c9009" providerId="ADAL" clId="{51855EB8-7EB1-4BF7-9706-E3D91595E0E3}" dt="2022-09-30T08:18:19.314" v="251" actId="1035"/>
          <ac:picMkLst>
            <pc:docMk/>
            <pc:sldMk cId="1609124706" sldId="2049"/>
            <ac:picMk id="10" creationId="{CA29AE2B-3A81-4E25-9A14-7D592817984B}"/>
          </ac:picMkLst>
        </pc:picChg>
        <pc:picChg chg="mod">
          <ac:chgData name="Kümmerle, Markus" userId="edb588ad-b118-44cb-93b6-335b967c9009" providerId="ADAL" clId="{51855EB8-7EB1-4BF7-9706-E3D91595E0E3}" dt="2022-09-30T08:19:35.994" v="254" actId="12789"/>
          <ac:picMkLst>
            <pc:docMk/>
            <pc:sldMk cId="1609124706" sldId="2049"/>
            <ac:picMk id="11" creationId="{897567D8-9C10-40E0-847D-E55A4C90178D}"/>
          </ac:picMkLst>
        </pc:picChg>
        <pc:picChg chg="mod">
          <ac:chgData name="Kümmerle, Markus" userId="edb588ad-b118-44cb-93b6-335b967c9009" providerId="ADAL" clId="{51855EB8-7EB1-4BF7-9706-E3D91595E0E3}" dt="2022-09-30T08:19:40.959" v="255" actId="408"/>
          <ac:picMkLst>
            <pc:docMk/>
            <pc:sldMk cId="1609124706" sldId="2049"/>
            <ac:picMk id="12" creationId="{08C621FC-DC50-4B73-A9EB-23E1EA12C64D}"/>
          </ac:picMkLst>
        </pc:picChg>
        <pc:picChg chg="add mod">
          <ac:chgData name="Kümmerle, Markus" userId="edb588ad-b118-44cb-93b6-335b967c9009" providerId="ADAL" clId="{51855EB8-7EB1-4BF7-9706-E3D91595E0E3}" dt="2022-09-30T08:19:35.994" v="254" actId="12789"/>
          <ac:picMkLst>
            <pc:docMk/>
            <pc:sldMk cId="1609124706" sldId="2049"/>
            <ac:picMk id="13" creationId="{F18E428A-ABE5-4B32-ABDA-DC640A561A52}"/>
          </ac:picMkLst>
        </pc:picChg>
        <pc:picChg chg="mod">
          <ac:chgData name="Kümmerle, Markus" userId="edb588ad-b118-44cb-93b6-335b967c9009" providerId="ADAL" clId="{51855EB8-7EB1-4BF7-9706-E3D91595E0E3}" dt="2022-09-30T08:20:49.540" v="265" actId="12789"/>
          <ac:picMkLst>
            <pc:docMk/>
            <pc:sldMk cId="1609124706" sldId="2049"/>
            <ac:picMk id="14" creationId="{DB9D9B4D-E3DA-446C-B06D-A04F656AD7FE}"/>
          </ac:picMkLst>
        </pc:picChg>
        <pc:picChg chg="mod">
          <ac:chgData name="Kümmerle, Markus" userId="edb588ad-b118-44cb-93b6-335b967c9009" providerId="ADAL" clId="{51855EB8-7EB1-4BF7-9706-E3D91595E0E3}" dt="2022-09-30T08:19:40.959" v="255" actId="408"/>
          <ac:picMkLst>
            <pc:docMk/>
            <pc:sldMk cId="1609124706" sldId="2049"/>
            <ac:picMk id="15" creationId="{C96A23AD-90E9-4DB1-9250-AF41B60BA2A4}"/>
          </ac:picMkLst>
        </pc:picChg>
        <pc:picChg chg="add mod">
          <ac:chgData name="Kümmerle, Markus" userId="edb588ad-b118-44cb-93b6-335b967c9009" providerId="ADAL" clId="{51855EB8-7EB1-4BF7-9706-E3D91595E0E3}" dt="2022-09-30T08:20:55.326" v="266" actId="408"/>
          <ac:picMkLst>
            <pc:docMk/>
            <pc:sldMk cId="1609124706" sldId="2049"/>
            <ac:picMk id="16" creationId="{D6F9E4A6-FAAC-46A0-88AE-C021020BEBB4}"/>
          </ac:picMkLst>
        </pc:picChg>
        <pc:picChg chg="add mod">
          <ac:chgData name="Kümmerle, Markus" userId="edb588ad-b118-44cb-93b6-335b967c9009" providerId="ADAL" clId="{51855EB8-7EB1-4BF7-9706-E3D91595E0E3}" dt="2022-09-30T08:20:49.540" v="265" actId="12789"/>
          <ac:picMkLst>
            <pc:docMk/>
            <pc:sldMk cId="1609124706" sldId="2049"/>
            <ac:picMk id="18" creationId="{533F0E4B-8356-4717-B86E-E2CAFD497C7E}"/>
          </ac:picMkLst>
        </pc:picChg>
        <pc:picChg chg="mod">
          <ac:chgData name="Kümmerle, Markus" userId="edb588ad-b118-44cb-93b6-335b967c9009" providerId="ADAL" clId="{51855EB8-7EB1-4BF7-9706-E3D91595E0E3}" dt="2022-09-30T08:18:19.314" v="251" actId="1035"/>
          <ac:picMkLst>
            <pc:docMk/>
            <pc:sldMk cId="1609124706" sldId="2049"/>
            <ac:picMk id="20" creationId="{00278130-6A13-4C98-8848-0032F0E95D5B}"/>
          </ac:picMkLst>
        </pc:picChg>
        <pc:picChg chg="del">
          <ac:chgData name="Kümmerle, Markus" userId="edb588ad-b118-44cb-93b6-335b967c9009" providerId="ADAL" clId="{51855EB8-7EB1-4BF7-9706-E3D91595E0E3}" dt="2022-09-15T14:54:18.537" v="26" actId="478"/>
          <ac:picMkLst>
            <pc:docMk/>
            <pc:sldMk cId="1609124706" sldId="2049"/>
            <ac:picMk id="21" creationId="{B1652846-1C76-48F1-9096-F77A41D04474}"/>
          </ac:picMkLst>
        </pc:picChg>
        <pc:picChg chg="add del mod">
          <ac:chgData name="Kümmerle, Markus" userId="edb588ad-b118-44cb-93b6-335b967c9009" providerId="ADAL" clId="{51855EB8-7EB1-4BF7-9706-E3D91595E0E3}" dt="2022-09-30T08:13:19.075" v="100" actId="478"/>
          <ac:picMkLst>
            <pc:docMk/>
            <pc:sldMk cId="1609124706" sldId="2049"/>
            <ac:picMk id="21" creationId="{B1BCDBF4-B1D1-4B48-8CEC-475992ABF8DE}"/>
          </ac:picMkLst>
        </pc:picChg>
        <pc:picChg chg="mod">
          <ac:chgData name="Kümmerle, Markus" userId="edb588ad-b118-44cb-93b6-335b967c9009" providerId="ADAL" clId="{51855EB8-7EB1-4BF7-9706-E3D91595E0E3}" dt="2022-09-30T08:18:19.314" v="251" actId="1035"/>
          <ac:picMkLst>
            <pc:docMk/>
            <pc:sldMk cId="1609124706" sldId="2049"/>
            <ac:picMk id="22" creationId="{AB203166-E2F2-45EB-A292-23761997F2CB}"/>
          </ac:picMkLst>
        </pc:picChg>
        <pc:picChg chg="mod">
          <ac:chgData name="Kümmerle, Markus" userId="edb588ad-b118-44cb-93b6-335b967c9009" providerId="ADAL" clId="{51855EB8-7EB1-4BF7-9706-E3D91595E0E3}" dt="2022-09-30T08:17:24.240" v="163" actId="1035"/>
          <ac:picMkLst>
            <pc:docMk/>
            <pc:sldMk cId="1609124706" sldId="2049"/>
            <ac:picMk id="23" creationId="{880C27AB-A266-4D16-B6CE-B608468EFA60}"/>
          </ac:picMkLst>
        </pc:picChg>
        <pc:picChg chg="mod">
          <ac:chgData name="Kümmerle, Markus" userId="edb588ad-b118-44cb-93b6-335b967c9009" providerId="ADAL" clId="{51855EB8-7EB1-4BF7-9706-E3D91595E0E3}" dt="2022-09-30T08:16:52.335" v="131" actId="1036"/>
          <ac:picMkLst>
            <pc:docMk/>
            <pc:sldMk cId="1609124706" sldId="2049"/>
            <ac:picMk id="24" creationId="{74157A46-D0ED-4A48-A468-6BE44B498445}"/>
          </ac:picMkLst>
        </pc:picChg>
        <pc:picChg chg="mod">
          <ac:chgData name="Kümmerle, Markus" userId="edb588ad-b118-44cb-93b6-335b967c9009" providerId="ADAL" clId="{51855EB8-7EB1-4BF7-9706-E3D91595E0E3}" dt="2022-09-30T08:19:40.959" v="255" actId="408"/>
          <ac:picMkLst>
            <pc:docMk/>
            <pc:sldMk cId="1609124706" sldId="2049"/>
            <ac:picMk id="26" creationId="{335E88DA-64F5-4BCD-AD7E-4709B2A07350}"/>
          </ac:picMkLst>
        </pc:picChg>
        <pc:picChg chg="mod">
          <ac:chgData name="Kümmerle, Markus" userId="edb588ad-b118-44cb-93b6-335b967c9009" providerId="ADAL" clId="{51855EB8-7EB1-4BF7-9706-E3D91595E0E3}" dt="2022-09-30T08:18:19.314" v="251" actId="1035"/>
          <ac:picMkLst>
            <pc:docMk/>
            <pc:sldMk cId="1609124706" sldId="2049"/>
            <ac:picMk id="27" creationId="{77138097-FEBD-4AE6-BF7E-2E57C5575FCB}"/>
          </ac:picMkLst>
        </pc:picChg>
        <pc:picChg chg="mod">
          <ac:chgData name="Kümmerle, Markus" userId="edb588ad-b118-44cb-93b6-335b967c9009" providerId="ADAL" clId="{51855EB8-7EB1-4BF7-9706-E3D91595E0E3}" dt="2022-09-30T08:16:52.335" v="131" actId="1036"/>
          <ac:picMkLst>
            <pc:docMk/>
            <pc:sldMk cId="1609124706" sldId="2049"/>
            <ac:picMk id="28" creationId="{FDB8DAB5-0016-431A-BDD8-EC9FEAA8C07F}"/>
          </ac:picMkLst>
        </pc:picChg>
        <pc:picChg chg="mod">
          <ac:chgData name="Kümmerle, Markus" userId="edb588ad-b118-44cb-93b6-335b967c9009" providerId="ADAL" clId="{51855EB8-7EB1-4BF7-9706-E3D91595E0E3}" dt="2022-09-30T08:20:55.326" v="266" actId="408"/>
          <ac:picMkLst>
            <pc:docMk/>
            <pc:sldMk cId="1609124706" sldId="2049"/>
            <ac:picMk id="29" creationId="{C1EBAE24-FB4D-498A-93F5-9C2F19DA31FF}"/>
          </ac:picMkLst>
        </pc:picChg>
        <pc:picChg chg="mod">
          <ac:chgData name="Kümmerle, Markus" userId="edb588ad-b118-44cb-93b6-335b967c9009" providerId="ADAL" clId="{51855EB8-7EB1-4BF7-9706-E3D91595E0E3}" dt="2022-09-30T08:16:52.335" v="131" actId="1036"/>
          <ac:picMkLst>
            <pc:docMk/>
            <pc:sldMk cId="1609124706" sldId="2049"/>
            <ac:picMk id="30" creationId="{DD4AF1C8-29CE-45FB-849A-A4B57CEFF8CE}"/>
          </ac:picMkLst>
        </pc:picChg>
        <pc:picChg chg="mod">
          <ac:chgData name="Kümmerle, Markus" userId="edb588ad-b118-44cb-93b6-335b967c9009" providerId="ADAL" clId="{51855EB8-7EB1-4BF7-9706-E3D91595E0E3}" dt="2022-09-30T08:19:40.959" v="255" actId="408"/>
          <ac:picMkLst>
            <pc:docMk/>
            <pc:sldMk cId="1609124706" sldId="2049"/>
            <ac:picMk id="31" creationId="{3683C14C-26D6-42D3-95D4-726159965F25}"/>
          </ac:picMkLst>
        </pc:picChg>
        <pc:picChg chg="mod">
          <ac:chgData name="Kümmerle, Markus" userId="edb588ad-b118-44cb-93b6-335b967c9009" providerId="ADAL" clId="{51855EB8-7EB1-4BF7-9706-E3D91595E0E3}" dt="2022-09-30T08:17:24.240" v="163" actId="1035"/>
          <ac:picMkLst>
            <pc:docMk/>
            <pc:sldMk cId="1609124706" sldId="2049"/>
            <ac:picMk id="32" creationId="{F74AEDDA-C5DB-4CE0-AC60-93E2D36AE504}"/>
          </ac:picMkLst>
        </pc:picChg>
        <pc:picChg chg="mod">
          <ac:chgData name="Kümmerle, Markus" userId="edb588ad-b118-44cb-93b6-335b967c9009" providerId="ADAL" clId="{51855EB8-7EB1-4BF7-9706-E3D91595E0E3}" dt="2022-09-30T08:17:24.240" v="163" actId="1035"/>
          <ac:picMkLst>
            <pc:docMk/>
            <pc:sldMk cId="1609124706" sldId="2049"/>
            <ac:picMk id="33" creationId="{2AF8F179-2BBF-4CC0-8BD8-BD7CC7162137}"/>
          </ac:picMkLst>
        </pc:picChg>
        <pc:picChg chg="mod">
          <ac:chgData name="Kümmerle, Markus" userId="edb588ad-b118-44cb-93b6-335b967c9009" providerId="ADAL" clId="{51855EB8-7EB1-4BF7-9706-E3D91595E0E3}" dt="2022-09-30T08:18:19.314" v="251" actId="1035"/>
          <ac:picMkLst>
            <pc:docMk/>
            <pc:sldMk cId="1609124706" sldId="2049"/>
            <ac:picMk id="34" creationId="{353AFCB8-FB38-4AAE-939F-016AB8747C08}"/>
          </ac:picMkLst>
        </pc:picChg>
        <pc:picChg chg="mod">
          <ac:chgData name="Kümmerle, Markus" userId="edb588ad-b118-44cb-93b6-335b967c9009" providerId="ADAL" clId="{51855EB8-7EB1-4BF7-9706-E3D91595E0E3}" dt="2022-09-30T08:21:29.361" v="269" actId="408"/>
          <ac:picMkLst>
            <pc:docMk/>
            <pc:sldMk cId="1609124706" sldId="2049"/>
            <ac:picMk id="35" creationId="{DA725A87-73F0-42D8-ABE3-59F5A5FF5549}"/>
          </ac:picMkLst>
        </pc:picChg>
        <pc:picChg chg="mod">
          <ac:chgData name="Kümmerle, Markus" userId="edb588ad-b118-44cb-93b6-335b967c9009" providerId="ADAL" clId="{51855EB8-7EB1-4BF7-9706-E3D91595E0E3}" dt="2022-09-30T08:21:29.361" v="269" actId="408"/>
          <ac:picMkLst>
            <pc:docMk/>
            <pc:sldMk cId="1609124706" sldId="2049"/>
            <ac:picMk id="36" creationId="{E43EAA71-6EA0-43FE-8AEC-8F75706271CC}"/>
          </ac:picMkLst>
        </pc:picChg>
        <pc:picChg chg="mod">
          <ac:chgData name="Kümmerle, Markus" userId="edb588ad-b118-44cb-93b6-335b967c9009" providerId="ADAL" clId="{51855EB8-7EB1-4BF7-9706-E3D91595E0E3}" dt="2022-09-30T08:21:29.361" v="269" actId="408"/>
          <ac:picMkLst>
            <pc:docMk/>
            <pc:sldMk cId="1609124706" sldId="2049"/>
            <ac:picMk id="37" creationId="{654B3E70-B34C-4110-8AA0-5D832134C0C5}"/>
          </ac:picMkLst>
        </pc:picChg>
        <pc:picChg chg="mod">
          <ac:chgData name="Kümmerle, Markus" userId="edb588ad-b118-44cb-93b6-335b967c9009" providerId="ADAL" clId="{51855EB8-7EB1-4BF7-9706-E3D91595E0E3}" dt="2022-09-30T08:21:29.361" v="269" actId="408"/>
          <ac:picMkLst>
            <pc:docMk/>
            <pc:sldMk cId="1609124706" sldId="2049"/>
            <ac:picMk id="38" creationId="{CC50274A-9DC8-4873-A5BF-2546543700B3}"/>
          </ac:picMkLst>
        </pc:picChg>
        <pc:picChg chg="mod">
          <ac:chgData name="Kümmerle, Markus" userId="edb588ad-b118-44cb-93b6-335b967c9009" providerId="ADAL" clId="{51855EB8-7EB1-4BF7-9706-E3D91595E0E3}" dt="2022-09-30T08:17:24.240" v="163" actId="1035"/>
          <ac:picMkLst>
            <pc:docMk/>
            <pc:sldMk cId="1609124706" sldId="2049"/>
            <ac:picMk id="39" creationId="{6C1ADF0C-2306-45E4-86B8-CC54467F1CF9}"/>
          </ac:picMkLst>
        </pc:picChg>
        <pc:picChg chg="mod">
          <ac:chgData name="Kümmerle, Markus" userId="edb588ad-b118-44cb-93b6-335b967c9009" providerId="ADAL" clId="{51855EB8-7EB1-4BF7-9706-E3D91595E0E3}" dt="2022-09-30T08:18:19.314" v="251" actId="1035"/>
          <ac:picMkLst>
            <pc:docMk/>
            <pc:sldMk cId="1609124706" sldId="2049"/>
            <ac:picMk id="40" creationId="{90595A52-DE01-492E-B229-E2F38411C4D2}"/>
          </ac:picMkLst>
        </pc:picChg>
        <pc:picChg chg="mod">
          <ac:chgData name="Kümmerle, Markus" userId="edb588ad-b118-44cb-93b6-335b967c9009" providerId="ADAL" clId="{51855EB8-7EB1-4BF7-9706-E3D91595E0E3}" dt="2022-09-30T08:16:52.335" v="131" actId="1036"/>
          <ac:picMkLst>
            <pc:docMk/>
            <pc:sldMk cId="1609124706" sldId="2049"/>
            <ac:picMk id="41" creationId="{1E6DFB7C-413E-4DF7-B981-91502D8AA15E}"/>
          </ac:picMkLst>
        </pc:picChg>
        <pc:picChg chg="mod">
          <ac:chgData name="Kümmerle, Markus" userId="edb588ad-b118-44cb-93b6-335b967c9009" providerId="ADAL" clId="{51855EB8-7EB1-4BF7-9706-E3D91595E0E3}" dt="2022-09-30T08:20:55.326" v="266" actId="408"/>
          <ac:picMkLst>
            <pc:docMk/>
            <pc:sldMk cId="1609124706" sldId="2049"/>
            <ac:picMk id="42" creationId="{E0D09212-E342-4915-9642-4F5303BD8807}"/>
          </ac:picMkLst>
        </pc:picChg>
        <pc:picChg chg="add mod">
          <ac:chgData name="Kümmerle, Markus" userId="edb588ad-b118-44cb-93b6-335b967c9009" providerId="ADAL" clId="{51855EB8-7EB1-4BF7-9706-E3D91595E0E3}" dt="2022-09-30T08:21:29.361" v="269" actId="408"/>
          <ac:picMkLst>
            <pc:docMk/>
            <pc:sldMk cId="1609124706" sldId="2049"/>
            <ac:picMk id="44" creationId="{16E86257-314D-4920-82F7-BBBC99866F0F}"/>
          </ac:picMkLst>
        </pc:picChg>
        <pc:picChg chg="mod">
          <ac:chgData name="Kümmerle, Markus" userId="edb588ad-b118-44cb-93b6-335b967c9009" providerId="ADAL" clId="{51855EB8-7EB1-4BF7-9706-E3D91595E0E3}" dt="2022-09-30T08:16:52.335" v="131" actId="1036"/>
          <ac:picMkLst>
            <pc:docMk/>
            <pc:sldMk cId="1609124706" sldId="2049"/>
            <ac:picMk id="3088" creationId="{F72A8B7E-732E-4B0C-8588-1320247D45E5}"/>
          </ac:picMkLst>
        </pc:picChg>
        <pc:picChg chg="mod">
          <ac:chgData name="Kümmerle, Markus" userId="edb588ad-b118-44cb-93b6-335b967c9009" providerId="ADAL" clId="{51855EB8-7EB1-4BF7-9706-E3D91595E0E3}" dt="2022-09-30T08:17:24.240" v="163" actId="1035"/>
          <ac:picMkLst>
            <pc:docMk/>
            <pc:sldMk cId="1609124706" sldId="2049"/>
            <ac:picMk id="3089" creationId="{D3BB906B-B65F-4A67-98C4-862449CD2D41}"/>
          </ac:picMkLst>
        </pc:picChg>
        <pc:picChg chg="mod">
          <ac:chgData name="Kümmerle, Markus" userId="edb588ad-b118-44cb-93b6-335b967c9009" providerId="ADAL" clId="{51855EB8-7EB1-4BF7-9706-E3D91595E0E3}" dt="2022-09-30T08:16:52.335" v="131" actId="1036"/>
          <ac:picMkLst>
            <pc:docMk/>
            <pc:sldMk cId="1609124706" sldId="2049"/>
            <ac:picMk id="3093" creationId="{9FDAEF24-BA7D-4E72-B3BE-2D955FC524C1}"/>
          </ac:picMkLst>
        </pc:picChg>
        <pc:picChg chg="mod">
          <ac:chgData name="Kümmerle, Markus" userId="edb588ad-b118-44cb-93b6-335b967c9009" providerId="ADAL" clId="{51855EB8-7EB1-4BF7-9706-E3D91595E0E3}" dt="2022-09-30T08:21:29.361" v="269" actId="408"/>
          <ac:picMkLst>
            <pc:docMk/>
            <pc:sldMk cId="1609124706" sldId="2049"/>
            <ac:picMk id="3098" creationId="{7DBDD973-78E3-47C6-8AA8-44941886C608}"/>
          </ac:picMkLst>
        </pc:picChg>
      </pc:sldChg>
      <pc:sldChg chg="delSp mod">
        <pc:chgData name="Kümmerle, Markus" userId="edb588ad-b118-44cb-93b6-335b967c9009" providerId="ADAL" clId="{51855EB8-7EB1-4BF7-9706-E3D91595E0E3}" dt="2022-09-15T13:59:36.402" v="9" actId="478"/>
        <pc:sldMkLst>
          <pc:docMk/>
          <pc:sldMk cId="3162489601" sldId="2050"/>
        </pc:sldMkLst>
        <pc:picChg chg="del">
          <ac:chgData name="Kümmerle, Markus" userId="edb588ad-b118-44cb-93b6-335b967c9009" providerId="ADAL" clId="{51855EB8-7EB1-4BF7-9706-E3D91595E0E3}" dt="2022-09-15T13:59:36.402" v="9" actId="478"/>
          <ac:picMkLst>
            <pc:docMk/>
            <pc:sldMk cId="3162489601" sldId="2050"/>
            <ac:picMk id="14" creationId="{41B61BB9-0C3D-4DF3-9314-EEE02C6D2173}"/>
          </ac:picMkLst>
        </pc:picChg>
      </pc:sldChg>
      <pc:sldChg chg="delSp modSp mod">
        <pc:chgData name="Kümmerle, Markus" userId="edb588ad-b118-44cb-93b6-335b967c9009" providerId="ADAL" clId="{51855EB8-7EB1-4BF7-9706-E3D91595E0E3}" dt="2022-09-15T14:15:08.979" v="18" actId="1076"/>
        <pc:sldMkLst>
          <pc:docMk/>
          <pc:sldMk cId="3353845272" sldId="2051"/>
        </pc:sldMkLst>
        <pc:spChg chg="mod">
          <ac:chgData name="Kümmerle, Markus" userId="edb588ad-b118-44cb-93b6-335b967c9009" providerId="ADAL" clId="{51855EB8-7EB1-4BF7-9706-E3D91595E0E3}" dt="2022-09-15T14:15:08.979" v="18" actId="1076"/>
          <ac:spMkLst>
            <pc:docMk/>
            <pc:sldMk cId="3353845272" sldId="2051"/>
            <ac:spMk id="34" creationId="{1A422AEB-B05F-406D-A9C4-4AA0ABCA8843}"/>
          </ac:spMkLst>
        </pc:spChg>
        <pc:picChg chg="del">
          <ac:chgData name="Kümmerle, Markus" userId="edb588ad-b118-44cb-93b6-335b967c9009" providerId="ADAL" clId="{51855EB8-7EB1-4BF7-9706-E3D91595E0E3}" dt="2022-09-15T14:00:05.600" v="13" actId="478"/>
          <ac:picMkLst>
            <pc:docMk/>
            <pc:sldMk cId="3353845272" sldId="2051"/>
            <ac:picMk id="42" creationId="{A97CB7FF-4ADF-4313-BD2F-E08C02DE5BBE}"/>
          </ac:picMkLst>
        </pc:picChg>
      </pc:sldChg>
      <pc:sldChg chg="delSp mod">
        <pc:chgData name="Kümmerle, Markus" userId="edb588ad-b118-44cb-93b6-335b967c9009" providerId="ADAL" clId="{51855EB8-7EB1-4BF7-9706-E3D91595E0E3}" dt="2022-09-15T14:00:15.617" v="14" actId="478"/>
        <pc:sldMkLst>
          <pc:docMk/>
          <pc:sldMk cId="14940823" sldId="2052"/>
        </pc:sldMkLst>
        <pc:picChg chg="del">
          <ac:chgData name="Kümmerle, Markus" userId="edb588ad-b118-44cb-93b6-335b967c9009" providerId="ADAL" clId="{51855EB8-7EB1-4BF7-9706-E3D91595E0E3}" dt="2022-09-15T14:00:15.617" v="14" actId="478"/>
          <ac:picMkLst>
            <pc:docMk/>
            <pc:sldMk cId="14940823" sldId="2052"/>
            <ac:picMk id="17" creationId="{2DA6A88F-1CC9-4757-AFA1-CC35143AEB6D}"/>
          </ac:picMkLst>
        </pc:picChg>
      </pc:sldChg>
      <pc:sldChg chg="delSp mod">
        <pc:chgData name="Kümmerle, Markus" userId="edb588ad-b118-44cb-93b6-335b967c9009" providerId="ADAL" clId="{51855EB8-7EB1-4BF7-9706-E3D91595E0E3}" dt="2022-09-15T13:59:59.673" v="12" actId="478"/>
        <pc:sldMkLst>
          <pc:docMk/>
          <pc:sldMk cId="3818869894" sldId="2054"/>
        </pc:sldMkLst>
        <pc:picChg chg="del">
          <ac:chgData name="Kümmerle, Markus" userId="edb588ad-b118-44cb-93b6-335b967c9009" providerId="ADAL" clId="{51855EB8-7EB1-4BF7-9706-E3D91595E0E3}" dt="2022-09-15T13:59:59.673" v="12" actId="478"/>
          <ac:picMkLst>
            <pc:docMk/>
            <pc:sldMk cId="3818869894" sldId="2054"/>
            <ac:picMk id="17" creationId="{5BF6B5A2-5BD6-4E69-B736-7871EF323D7B}"/>
          </ac:picMkLst>
        </pc:picChg>
      </pc:sldChg>
      <pc:sldChg chg="delSp mod">
        <pc:chgData name="Kümmerle, Markus" userId="edb588ad-b118-44cb-93b6-335b967c9009" providerId="ADAL" clId="{51855EB8-7EB1-4BF7-9706-E3D91595E0E3}" dt="2022-09-15T13:59:54.360" v="11" actId="478"/>
        <pc:sldMkLst>
          <pc:docMk/>
          <pc:sldMk cId="13641243" sldId="2055"/>
        </pc:sldMkLst>
        <pc:picChg chg="del">
          <ac:chgData name="Kümmerle, Markus" userId="edb588ad-b118-44cb-93b6-335b967c9009" providerId="ADAL" clId="{51855EB8-7EB1-4BF7-9706-E3D91595E0E3}" dt="2022-09-15T13:59:54.360" v="11" actId="478"/>
          <ac:picMkLst>
            <pc:docMk/>
            <pc:sldMk cId="13641243" sldId="2055"/>
            <ac:picMk id="13" creationId="{07C79020-07FF-4023-B804-93A4272049A7}"/>
          </ac:picMkLst>
        </pc:picChg>
      </pc:sldChg>
      <pc:sldMasterChg chg="modSp mod modSldLayout">
        <pc:chgData name="Kümmerle, Markus" userId="edb588ad-b118-44cb-93b6-335b967c9009" providerId="ADAL" clId="{51855EB8-7EB1-4BF7-9706-E3D91595E0E3}" dt="2022-09-30T08:22:05.974" v="271" actId="20577"/>
        <pc:sldMasterMkLst>
          <pc:docMk/>
          <pc:sldMasterMk cId="792883523" sldId="2147483648"/>
        </pc:sldMasterMkLst>
        <pc:spChg chg="mod">
          <ac:chgData name="Kümmerle, Markus" userId="edb588ad-b118-44cb-93b6-335b967c9009" providerId="ADAL" clId="{51855EB8-7EB1-4BF7-9706-E3D91595E0E3}" dt="2022-09-30T08:22:05.974" v="271" actId="20577"/>
          <ac:spMkLst>
            <pc:docMk/>
            <pc:sldMasterMk cId="792883523" sldId="2147483648"/>
            <ac:spMk id="42" creationId="{45454B20-5506-4078-B4BE-04E554143E72}"/>
          </ac:spMkLst>
        </pc:spChg>
        <pc:sldLayoutChg chg="addSp delSp modSp mod">
          <pc:chgData name="Kümmerle, Markus" userId="edb588ad-b118-44cb-93b6-335b967c9009" providerId="ADAL" clId="{51855EB8-7EB1-4BF7-9706-E3D91595E0E3}" dt="2022-09-15T13:59:17.840" v="8" actId="1076"/>
          <pc:sldLayoutMkLst>
            <pc:docMk/>
            <pc:sldMasterMk cId="792883523" sldId="2147483648"/>
            <pc:sldLayoutMk cId="3748291341" sldId="2147483658"/>
          </pc:sldLayoutMkLst>
          <pc:picChg chg="del">
            <ac:chgData name="Kümmerle, Markus" userId="edb588ad-b118-44cb-93b6-335b967c9009" providerId="ADAL" clId="{51855EB8-7EB1-4BF7-9706-E3D91595E0E3}" dt="2022-09-15T13:59:03.592" v="5" actId="478"/>
            <ac:picMkLst>
              <pc:docMk/>
              <pc:sldMasterMk cId="792883523" sldId="2147483648"/>
              <pc:sldLayoutMk cId="3748291341" sldId="2147483658"/>
              <ac:picMk id="3" creationId="{CAFD5C02-BA33-400C-94F0-7B79F6E607EF}"/>
            </ac:picMkLst>
          </pc:picChg>
          <pc:picChg chg="add mod">
            <ac:chgData name="Kümmerle, Markus" userId="edb588ad-b118-44cb-93b6-335b967c9009" providerId="ADAL" clId="{51855EB8-7EB1-4BF7-9706-E3D91595E0E3}" dt="2022-09-15T13:59:17.840" v="8" actId="1076"/>
            <ac:picMkLst>
              <pc:docMk/>
              <pc:sldMasterMk cId="792883523" sldId="2147483648"/>
              <pc:sldLayoutMk cId="3748291341" sldId="2147483658"/>
              <ac:picMk id="4" creationId="{695EB076-E1BD-4EDF-8A49-0FFA62C17B0A}"/>
            </ac:picMkLst>
          </pc:picChg>
        </pc:sldLayoutChg>
      </pc:sldMaster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5.11.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vmlDrawing" Target="../drawings/vmlDrawing3.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050"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3"/>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3074"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7"/>
          <a:stretch>
            <a:fillRect/>
          </a:stretch>
        </p:blipFill>
        <p:spPr>
          <a:xfrm>
            <a:off x="7776754" y="470208"/>
            <a:ext cx="3482228" cy="670403"/>
          </a:xfrm>
          <a:prstGeom prst="rect">
            <a:avLst/>
          </a:prstGeom>
        </p:spPr>
      </p:pic>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15.11.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6"/>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6.png"/><Relationship Id="rId39" Type="http://schemas.openxmlformats.org/officeDocument/2006/relationships/image" Target="../media/image59.png"/><Relationship Id="rId3" Type="http://schemas.openxmlformats.org/officeDocument/2006/relationships/tags" Target="../tags/tag24.xml"/><Relationship Id="rId21" Type="http://schemas.openxmlformats.org/officeDocument/2006/relationships/image" Target="../media/image42.png"/><Relationship Id="rId34" Type="http://schemas.openxmlformats.org/officeDocument/2006/relationships/image" Target="../media/image54.png"/><Relationship Id="rId42" Type="http://schemas.openxmlformats.org/officeDocument/2006/relationships/image" Target="../media/image62.png"/><Relationship Id="rId47" Type="http://schemas.openxmlformats.org/officeDocument/2006/relationships/image" Target="../media/image67.png"/><Relationship Id="rId7" Type="http://schemas.openxmlformats.org/officeDocument/2006/relationships/image" Target="../media/image5.emf"/><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5.png"/><Relationship Id="rId33" Type="http://schemas.openxmlformats.org/officeDocument/2006/relationships/image" Target="../media/image53.png"/><Relationship Id="rId38" Type="http://schemas.openxmlformats.org/officeDocument/2006/relationships/image" Target="../media/image58.png"/><Relationship Id="rId46" Type="http://schemas.openxmlformats.org/officeDocument/2006/relationships/image" Target="../media/image66.png"/><Relationship Id="rId2" Type="http://schemas.openxmlformats.org/officeDocument/2006/relationships/tags" Target="../tags/tag23.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41" Type="http://schemas.openxmlformats.org/officeDocument/2006/relationships/image" Target="../media/image61.png"/><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32.png"/><Relationship Id="rId24" Type="http://schemas.openxmlformats.org/officeDocument/2006/relationships/image" Target="../media/image44.png"/><Relationship Id="rId32" Type="http://schemas.openxmlformats.org/officeDocument/2006/relationships/image" Target="../media/image52.png"/><Relationship Id="rId37" Type="http://schemas.openxmlformats.org/officeDocument/2006/relationships/image" Target="../media/image57.png"/><Relationship Id="rId40" Type="http://schemas.openxmlformats.org/officeDocument/2006/relationships/image" Target="../media/image60.png"/><Relationship Id="rId45" Type="http://schemas.openxmlformats.org/officeDocument/2006/relationships/image" Target="../media/image65.svg"/><Relationship Id="rId5" Type="http://schemas.openxmlformats.org/officeDocument/2006/relationships/notesSlide" Target="../notesSlides/notesSlide2.xml"/><Relationship Id="rId15" Type="http://schemas.openxmlformats.org/officeDocument/2006/relationships/image" Target="../media/image36.png"/><Relationship Id="rId23" Type="http://schemas.openxmlformats.org/officeDocument/2006/relationships/image" Target="../media/image15.png"/><Relationship Id="rId28" Type="http://schemas.openxmlformats.org/officeDocument/2006/relationships/image" Target="../media/image48.png"/><Relationship Id="rId36" Type="http://schemas.openxmlformats.org/officeDocument/2006/relationships/image" Target="../media/image56.png"/><Relationship Id="rId10" Type="http://schemas.openxmlformats.org/officeDocument/2006/relationships/image" Target="../media/image31.png"/><Relationship Id="rId19" Type="http://schemas.openxmlformats.org/officeDocument/2006/relationships/image" Target="../media/image40.png"/><Relationship Id="rId31" Type="http://schemas.openxmlformats.org/officeDocument/2006/relationships/image" Target="../media/image51.png"/><Relationship Id="rId44" Type="http://schemas.openxmlformats.org/officeDocument/2006/relationships/image" Target="../media/image64.png"/><Relationship Id="rId4" Type="http://schemas.openxmlformats.org/officeDocument/2006/relationships/slideLayout" Target="../slideLayouts/slideLayout2.xml"/><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5.jpg"/><Relationship Id="rId43" Type="http://schemas.openxmlformats.org/officeDocument/2006/relationships/image" Target="../media/image63.png"/><Relationship Id="rId48" Type="http://schemas.openxmlformats.org/officeDocument/2006/relationships/image" Target="../media/image68.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image" Target="../media/image69.jpe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0.svg"/><Relationship Id="rId5" Type="http://schemas.openxmlformats.org/officeDocument/2006/relationships/image" Target="../media/image6.png"/><Relationship Id="rId10" Type="http://schemas.openxmlformats.org/officeDocument/2006/relationships/image" Target="../media/image9.png"/><Relationship Id="rId4" Type="http://schemas.openxmlformats.org/officeDocument/2006/relationships/slideLayout" Target="../slideLayouts/slideLayout2.xml"/><Relationship Id="rId9" Type="http://schemas.openxmlformats.org/officeDocument/2006/relationships/image" Target="../media/image8.svg"/></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0.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6.bin"/><Relationship Id="rId10" Type="http://schemas.openxmlformats.org/officeDocument/2006/relationships/image" Target="../media/image10.sv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2.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6.xml"/><Relationship Id="rId7" Type="http://schemas.openxmlformats.org/officeDocument/2006/relationships/image" Target="../media/image13.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Layout" Target="../slideLayouts/slideLayout2.xml"/><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6.gif"/><Relationship Id="rId3" Type="http://schemas.openxmlformats.org/officeDocument/2006/relationships/tags" Target="../tags/tag18.xml"/><Relationship Id="rId7" Type="http://schemas.openxmlformats.org/officeDocument/2006/relationships/image" Target="../media/image15.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10.bin"/><Relationship Id="rId10" Type="http://schemas.openxmlformats.org/officeDocument/2006/relationships/image" Target="../media/image18.svg"/><Relationship Id="rId4" Type="http://schemas.openxmlformats.org/officeDocument/2006/relationships/slideLayout" Target="../slideLayouts/slideLayout2.xml"/><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tags" Target="../tags/tag20.xml"/><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5.emf"/><Relationship Id="rId11" Type="http://schemas.openxmlformats.org/officeDocument/2006/relationships/image" Target="../media/image23.png"/><Relationship Id="rId5" Type="http://schemas.openxmlformats.org/officeDocument/2006/relationships/oleObject" Target="../embeddings/oleObject11.bin"/><Relationship Id="rId15" Type="http://schemas.openxmlformats.org/officeDocument/2006/relationships/image" Target="../media/image11.png"/><Relationship Id="rId10" Type="http://schemas.openxmlformats.org/officeDocument/2006/relationships/image" Target="../media/image22.svg"/><Relationship Id="rId4" Type="http://schemas.openxmlformats.org/officeDocument/2006/relationships/slideLayout" Target="../slideLayouts/slideLayout2.xml"/><Relationship Id="rId9" Type="http://schemas.openxmlformats.org/officeDocument/2006/relationships/image" Target="../media/image21.png"/><Relationship Id="rId14" Type="http://schemas.openxmlformats.org/officeDocument/2006/relationships/image" Target="../media/image26.sv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2.xml"/><Relationship Id="rId7" Type="http://schemas.openxmlformats.org/officeDocument/2006/relationships/image" Target="../media/image5.emf"/><Relationship Id="rId12" Type="http://schemas.openxmlformats.org/officeDocument/2006/relationships/image" Target="../media/image29.sv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13.png"/><Relationship Id="rId5" Type="http://schemas.openxmlformats.org/officeDocument/2006/relationships/image" Target="../media/image11.png"/><Relationship Id="rId10" Type="http://schemas.openxmlformats.org/officeDocument/2006/relationships/hyperlink" Target="https://github.com/camaraproject/rep_main" TargetMode="External"/><Relationship Id="rId4" Type="http://schemas.openxmlformats.org/officeDocument/2006/relationships/slideLayout" Target="../slideLayouts/slideLayout2.xml"/><Relationship Id="rId9"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4098"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pic>
        <p:nvPicPr>
          <p:cNvPr id="22" name="Grafik 21">
            <a:extLst>
              <a:ext uri="{FF2B5EF4-FFF2-40B4-BE49-F238E27FC236}">
                <a16:creationId xmlns:a16="http://schemas.microsoft.com/office/drawing/2014/main" id="{77237022-EE65-4386-BA08-1E346446B16E}"/>
              </a:ext>
            </a:extLst>
          </p:cNvPr>
          <p:cNvPicPr>
            <a:picLocks noChangeAspect="1"/>
          </p:cNvPicPr>
          <p:nvPr/>
        </p:nvPicPr>
        <p:blipFill>
          <a:blip r:embed="rId8"/>
          <a:stretch>
            <a:fillRect/>
          </a:stretch>
        </p:blipFill>
        <p:spPr>
          <a:xfrm>
            <a:off x="288462" y="4749950"/>
            <a:ext cx="5105651" cy="982947"/>
          </a:xfrm>
          <a:prstGeom prst="rect">
            <a:avLst/>
          </a:prstGeom>
        </p:spPr>
      </p:pic>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38526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6" imgW="592" imgH="595" progId="TCLayout.ActiveDocument.1">
                  <p:embed/>
                </p:oleObj>
              </mc:Choice>
              <mc:Fallback>
                <p:oleObj name="think-cell Folie" r:id="rId6"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8">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48309" y="5400470"/>
            <a:ext cx="1405205" cy="804801"/>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20231" y="4587723"/>
            <a:ext cx="872187" cy="886033"/>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5027" y="5243884"/>
            <a:ext cx="1104819" cy="1117973"/>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15114" y="1585482"/>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3"/>
          <a:stretch>
            <a:fillRect/>
          </a:stretch>
        </p:blipFill>
        <p:spPr>
          <a:xfrm>
            <a:off x="8142677" y="3742358"/>
            <a:ext cx="1749259" cy="983957"/>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4"/>
          <a:stretch>
            <a:fillRect/>
          </a:stretch>
        </p:blipFill>
        <p:spPr>
          <a:xfrm>
            <a:off x="2979269" y="3849331"/>
            <a:ext cx="1408556" cy="770010"/>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5"/>
          <a:stretch>
            <a:fillRect/>
          </a:stretch>
        </p:blipFill>
        <p:spPr>
          <a:xfrm>
            <a:off x="9511699" y="4821435"/>
            <a:ext cx="1712493" cy="418609"/>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6"/>
          <a:stretch>
            <a:fillRect/>
          </a:stretch>
        </p:blipFill>
        <p:spPr>
          <a:xfrm>
            <a:off x="9047562" y="2511509"/>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7"/>
          <a:stretch>
            <a:fillRect/>
          </a:stretch>
        </p:blipFill>
        <p:spPr>
          <a:xfrm>
            <a:off x="6161239" y="4616807"/>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8"/>
          <a:stretch>
            <a:fillRect/>
          </a:stretch>
        </p:blipFill>
        <p:spPr>
          <a:xfrm>
            <a:off x="3759486" y="5392759"/>
            <a:ext cx="2491835" cy="820222"/>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19"/>
          <a:stretch>
            <a:fillRect/>
          </a:stretch>
        </p:blipFill>
        <p:spPr>
          <a:xfrm>
            <a:off x="8496028" y="3045813"/>
            <a:ext cx="1637137" cy="1089770"/>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0"/>
          <a:stretch>
            <a:fillRect/>
          </a:stretch>
        </p:blipFill>
        <p:spPr>
          <a:xfrm>
            <a:off x="1299758" y="3678577"/>
            <a:ext cx="1667276" cy="1111518"/>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1"/>
          <a:stretch>
            <a:fillRect/>
          </a:stretch>
        </p:blipFill>
        <p:spPr>
          <a:xfrm>
            <a:off x="1087493" y="4874050"/>
            <a:ext cx="3302471" cy="1857640"/>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2"/>
          <a:stretch>
            <a:fillRect/>
          </a:stretch>
        </p:blipFill>
        <p:spPr>
          <a:xfrm>
            <a:off x="4676923" y="2336551"/>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3"/>
          <a:stretch>
            <a:fillRect/>
          </a:stretch>
        </p:blipFill>
        <p:spPr>
          <a:xfrm>
            <a:off x="6420943" y="5486462"/>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4"/>
          <a:stretch>
            <a:fillRect/>
          </a:stretch>
        </p:blipFill>
        <p:spPr>
          <a:xfrm>
            <a:off x="2043810" y="3375444"/>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0088" t="22838" r="13692" b="27205"/>
          <a:stretch/>
        </p:blipFill>
        <p:spPr bwMode="auto">
          <a:xfrm>
            <a:off x="1717450" y="4788225"/>
            <a:ext cx="1767796" cy="485029"/>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6"/>
          <a:stretch>
            <a:fillRect/>
          </a:stretch>
        </p:blipFill>
        <p:spPr>
          <a:xfrm>
            <a:off x="7057925" y="4517431"/>
            <a:ext cx="1026616" cy="1026616"/>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7"/>
          <a:stretch>
            <a:fillRect/>
          </a:stretch>
        </p:blipFill>
        <p:spPr>
          <a:xfrm>
            <a:off x="360862" y="4046379"/>
            <a:ext cx="926661" cy="375915"/>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8"/>
          <a:stretch>
            <a:fillRect/>
          </a:stretch>
        </p:blipFill>
        <p:spPr>
          <a:xfrm>
            <a:off x="4519702" y="3421042"/>
            <a:ext cx="1916123" cy="33931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29"/>
          <a:stretch>
            <a:fillRect/>
          </a:stretch>
        </p:blipFill>
        <p:spPr>
          <a:xfrm>
            <a:off x="3554067" y="4844811"/>
            <a:ext cx="1597343" cy="371857"/>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30"/>
          <a:stretch>
            <a:fillRect/>
          </a:stretch>
        </p:blipFill>
        <p:spPr>
          <a:xfrm>
            <a:off x="6404883" y="3934783"/>
            <a:ext cx="1725559" cy="599107"/>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1"/>
          <a:stretch>
            <a:fillRect/>
          </a:stretch>
        </p:blipFill>
        <p:spPr>
          <a:xfrm>
            <a:off x="5250094" y="1909332"/>
            <a:ext cx="2027333" cy="442071"/>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2"/>
          <a:stretch>
            <a:fillRect/>
          </a:stretch>
        </p:blipFill>
        <p:spPr>
          <a:xfrm>
            <a:off x="428419" y="1948949"/>
            <a:ext cx="1200936" cy="362836"/>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3"/>
          <a:stretch>
            <a:fillRect/>
          </a:stretch>
        </p:blipFill>
        <p:spPr>
          <a:xfrm>
            <a:off x="9904171" y="3499063"/>
            <a:ext cx="1470547" cy="1470547"/>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4"/>
          <a:stretch>
            <a:fillRect/>
          </a:stretch>
        </p:blipFill>
        <p:spPr>
          <a:xfrm>
            <a:off x="227499" y="2405657"/>
            <a:ext cx="2111951" cy="853091"/>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35"/>
          <a:stretch>
            <a:fillRect/>
          </a:stretch>
        </p:blipFill>
        <p:spPr>
          <a:xfrm>
            <a:off x="2067042" y="1752167"/>
            <a:ext cx="756400" cy="756400"/>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36"/>
          <a:stretch>
            <a:fillRect/>
          </a:stretch>
        </p:blipFill>
        <p:spPr>
          <a:xfrm>
            <a:off x="8153362" y="4751536"/>
            <a:ext cx="1289517" cy="55840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37"/>
          <a:stretch>
            <a:fillRect/>
          </a:stretch>
        </p:blipFill>
        <p:spPr>
          <a:xfrm>
            <a:off x="360862" y="4794484"/>
            <a:ext cx="1287767" cy="472510"/>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8"/>
          <a:stretch>
            <a:fillRect/>
          </a:stretch>
        </p:blipFill>
        <p:spPr>
          <a:xfrm>
            <a:off x="10027884" y="5488206"/>
            <a:ext cx="1236954" cy="629328"/>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39"/>
          <a:stretch>
            <a:fillRect/>
          </a:stretch>
        </p:blipFill>
        <p:spPr>
          <a:xfrm>
            <a:off x="7375499" y="2708475"/>
            <a:ext cx="1418237" cy="247455"/>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40"/>
          <a:stretch>
            <a:fillRect/>
          </a:stretch>
        </p:blipFill>
        <p:spPr>
          <a:xfrm>
            <a:off x="3261129" y="1925879"/>
            <a:ext cx="1551278" cy="408976"/>
          </a:xfrm>
          <a:prstGeom prst="rect">
            <a:avLst/>
          </a:prstGeom>
        </p:spPr>
      </p:pic>
      <p:pic>
        <p:nvPicPr>
          <p:cNvPr id="11" name="Grafik 10">
            <a:extLst>
              <a:ext uri="{FF2B5EF4-FFF2-40B4-BE49-F238E27FC236}">
                <a16:creationId xmlns:a16="http://schemas.microsoft.com/office/drawing/2014/main" id="{897567D8-9C10-40E0-847D-E55A4C90178D}"/>
              </a:ext>
            </a:extLst>
          </p:cNvPr>
          <p:cNvPicPr>
            <a:picLocks noChangeAspect="1"/>
          </p:cNvPicPr>
          <p:nvPr/>
        </p:nvPicPr>
        <p:blipFill>
          <a:blip r:embed="rId41"/>
          <a:stretch>
            <a:fillRect/>
          </a:stretch>
        </p:blipFill>
        <p:spPr>
          <a:xfrm>
            <a:off x="248585" y="3267695"/>
            <a:ext cx="1443557" cy="646006"/>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C96A23AD-90E9-4DB1-9250-AF41B60BA2A4}"/>
              </a:ext>
            </a:extLst>
          </p:cNvPr>
          <p:cNvPicPr>
            <a:picLocks noChangeAspect="1"/>
          </p:cNvPicPr>
          <p:nvPr/>
        </p:nvPicPr>
        <p:blipFill>
          <a:blip r:embed="rId42"/>
          <a:stretch>
            <a:fillRect/>
          </a:stretch>
        </p:blipFill>
        <p:spPr>
          <a:xfrm>
            <a:off x="6787493" y="3484673"/>
            <a:ext cx="1356867" cy="212051"/>
          </a:xfrm>
          <a:prstGeom prst="rect">
            <a:avLst/>
          </a:prstGeom>
        </p:spPr>
      </p:pic>
      <p:pic>
        <p:nvPicPr>
          <p:cNvPr id="13" name="Grafik 12">
            <a:extLst>
              <a:ext uri="{FF2B5EF4-FFF2-40B4-BE49-F238E27FC236}">
                <a16:creationId xmlns:a16="http://schemas.microsoft.com/office/drawing/2014/main" id="{F18E428A-ABE5-4B32-ABDA-DC640A561A52}"/>
              </a:ext>
            </a:extLst>
          </p:cNvPr>
          <p:cNvPicPr>
            <a:picLocks noChangeAspect="1"/>
          </p:cNvPicPr>
          <p:nvPr/>
        </p:nvPicPr>
        <p:blipFill>
          <a:blip r:embed="rId43"/>
          <a:stretch>
            <a:fillRect/>
          </a:stretch>
        </p:blipFill>
        <p:spPr>
          <a:xfrm>
            <a:off x="10484834" y="3241998"/>
            <a:ext cx="774717" cy="697400"/>
          </a:xfrm>
          <a:prstGeom prst="rect">
            <a:avLst/>
          </a:prstGeom>
        </p:spPr>
      </p:pic>
      <p:pic>
        <p:nvPicPr>
          <p:cNvPr id="18" name="Grafik 17">
            <a:extLst>
              <a:ext uri="{FF2B5EF4-FFF2-40B4-BE49-F238E27FC236}">
                <a16:creationId xmlns:a16="http://schemas.microsoft.com/office/drawing/2014/main" id="{533F0E4B-8356-4717-B86E-E2CAFD497C7E}"/>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9893774" y="2746477"/>
            <a:ext cx="1371600" cy="171450"/>
          </a:xfrm>
          <a:prstGeom prst="rect">
            <a:avLst/>
          </a:prstGeom>
        </p:spPr>
      </p:pic>
      <p:pic>
        <p:nvPicPr>
          <p:cNvPr id="16" name="Grafik 15">
            <a:extLst>
              <a:ext uri="{FF2B5EF4-FFF2-40B4-BE49-F238E27FC236}">
                <a16:creationId xmlns:a16="http://schemas.microsoft.com/office/drawing/2014/main" id="{D6F9E4A6-FAAC-46A0-88AE-C021020BEBB4}"/>
              </a:ext>
            </a:extLst>
          </p:cNvPr>
          <p:cNvPicPr>
            <a:picLocks noChangeAspect="1"/>
          </p:cNvPicPr>
          <p:nvPr/>
        </p:nvPicPr>
        <p:blipFill>
          <a:blip r:embed="rId46"/>
          <a:stretch>
            <a:fillRect/>
          </a:stretch>
        </p:blipFill>
        <p:spPr>
          <a:xfrm>
            <a:off x="2593276" y="2694103"/>
            <a:ext cx="1829821" cy="276199"/>
          </a:xfrm>
          <a:prstGeom prst="rect">
            <a:avLst/>
          </a:prstGeom>
        </p:spPr>
      </p:pic>
      <p:pic>
        <p:nvPicPr>
          <p:cNvPr id="44" name="Grafik 43">
            <a:extLst>
              <a:ext uri="{FF2B5EF4-FFF2-40B4-BE49-F238E27FC236}">
                <a16:creationId xmlns:a16="http://schemas.microsoft.com/office/drawing/2014/main" id="{16E86257-314D-4920-82F7-BBBC99866F0F}"/>
              </a:ext>
            </a:extLst>
          </p:cNvPr>
          <p:cNvPicPr>
            <a:picLocks noChangeAspect="1"/>
          </p:cNvPicPr>
          <p:nvPr/>
        </p:nvPicPr>
        <p:blipFill>
          <a:blip r:embed="rId47"/>
          <a:stretch>
            <a:fillRect/>
          </a:stretch>
        </p:blipFill>
        <p:spPr>
          <a:xfrm>
            <a:off x="9227003" y="1796057"/>
            <a:ext cx="2254250" cy="668620"/>
          </a:xfrm>
          <a:prstGeom prst="rect">
            <a:avLst/>
          </a:prstGeom>
        </p:spPr>
      </p:pic>
      <p:pic>
        <p:nvPicPr>
          <p:cNvPr id="19" name="Grafik 18">
            <a:extLst>
              <a:ext uri="{FF2B5EF4-FFF2-40B4-BE49-F238E27FC236}">
                <a16:creationId xmlns:a16="http://schemas.microsoft.com/office/drawing/2014/main" id="{33E5CB1F-A0D7-4FBB-A060-9587B6427AD4}"/>
              </a:ext>
            </a:extLst>
          </p:cNvPr>
          <p:cNvPicPr>
            <a:picLocks noChangeAspect="1"/>
          </p:cNvPicPr>
          <p:nvPr/>
        </p:nvPicPr>
        <p:blipFill>
          <a:blip r:embed="rId48"/>
          <a:stretch>
            <a:fillRect/>
          </a:stretch>
        </p:blipFill>
        <p:spPr>
          <a:xfrm>
            <a:off x="4400060" y="3926991"/>
            <a:ext cx="1992588" cy="614691"/>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2"/>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5" imgW="592" imgH="595" progId="TCLayout.ActiveDocument.1">
                  <p:embed/>
                </p:oleObj>
              </mc:Choice>
              <mc:Fallback>
                <p:oleObj name="think-cell Folie" r:id="rId5"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7072E4F5-C39E-4EB9-AD2F-326DD2A2F508}"/>
              </a:ext>
            </a:extLst>
          </p:cNvPr>
          <p:cNvPicPr>
            <a:picLocks noChangeAspect="1"/>
          </p:cNvPicPr>
          <p:nvPr/>
        </p:nvPicPr>
        <p:blipFill>
          <a:blip r:embed="rId7"/>
          <a:stretch>
            <a:fillRect/>
          </a:stretch>
        </p:blipFill>
        <p:spPr>
          <a:xfrm>
            <a:off x="2745035" y="4117400"/>
            <a:ext cx="6032004" cy="116129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6" imgW="592" imgH="595" progId="TCLayout.ActiveDocument.1">
                  <p:embed/>
                </p:oleObj>
              </mc:Choice>
              <mc:Fallback>
                <p:oleObj name="think-cell Folie" r:id="rId6"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dirty="0">
                <a:solidFill>
                  <a:srgbClr val="FFFFFF"/>
                </a:solidFill>
              </a:rPr>
              <a:t>5G network capabilities</a:t>
            </a:r>
            <a:br>
              <a:rPr lang="en-US" sz="3200" dirty="0">
                <a:solidFill>
                  <a:srgbClr val="FFFFFF"/>
                </a:solidFill>
              </a:rPr>
            </a:br>
            <a:r>
              <a:rPr lang="en-US" sz="3200" dirty="0">
                <a:solidFill>
                  <a:srgbClr val="FFFFFF"/>
                </a:solidFill>
              </a:rPr>
              <a:t>Introduction</a:t>
            </a:r>
            <a:endParaRPr lang="de-DE" sz="3200" dirty="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dirty="0">
                <a:latin typeface="FlexoSoft DemiBold" panose="02000000000000000000" pitchFamily="2" charset="0"/>
              </a:rPr>
              <a:t>5G network capabilities </a:t>
            </a:r>
            <a:r>
              <a:rPr lang="en-US"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dirty="0">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dirty="0">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1494021" y="1862372"/>
            <a:ext cx="914400" cy="914400"/>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7"/>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099064">
            <a:off x="1681658" y="2568001"/>
            <a:ext cx="2035664" cy="2035664"/>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7"/>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20900594">
            <a:off x="1826876" y="2310936"/>
            <a:ext cx="914400" cy="914400"/>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426150" y="1532805"/>
            <a:ext cx="1538924" cy="369332"/>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Application</a:t>
            </a:r>
            <a:endParaRPr lang="de-DE" dirty="0">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6" imgW="592" imgH="595" progId="TCLayout.ActiveDocument.1">
                  <p:embed/>
                </p:oleObj>
              </mc:Choice>
              <mc:Fallback>
                <p:oleObj name="think-cell Folie" r:id="rId6"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10"/>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20981370">
            <a:off x="185283" y="5507012"/>
            <a:ext cx="557292" cy="557292"/>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18887A1-DA35-45B1-9C30-3C4CD5A75F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028B3AEC-1B9B-4DB5-801E-C1A65C3DCD7E}">
  <ds:schemaRefs>
    <ds:schemaRef ds:uri="http://schemas.microsoft.com/office/2006/documentManagement/types"/>
    <ds:schemaRef ds:uri="http://purl.org/dc/terms/"/>
    <ds:schemaRef ds:uri="http://schemas.openxmlformats.org/package/2006/metadata/core-properties"/>
    <ds:schemaRef ds:uri="http://www.w3.org/XML/1998/namespace"/>
    <ds:schemaRef ds:uri="http://purl.org/dc/elements/1.1/"/>
    <ds:schemaRef ds:uri="http://schemas.microsoft.com/office/2006/metadata/properties"/>
    <ds:schemaRef ds:uri="97396690-0b91-46d2-ad5a-06f45914e19c"/>
    <ds:schemaRef ds:uri="http://schemas.microsoft.com/office/infopath/2007/PartnerControls"/>
    <ds:schemaRef ds:uri="6126070c-0864-4b03-b2dc-aab5d8c39348"/>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3</Words>
  <Application>Microsoft Office PowerPoint</Application>
  <PresentationFormat>Benutzerdefiniert</PresentationFormat>
  <Paragraphs>117</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FlexoSoft DemiBold</vt:lpstr>
      <vt:lpstr>FlexoSoft Light</vt:lpstr>
      <vt:lpstr>FlexoSoft Medium</vt:lpstr>
      <vt:lpstr>Wingdings 2</vt:lpstr>
      <vt:lpstr>Wingdings</vt:lpstr>
      <vt:lpstr>Arial</vt:lpstr>
      <vt:lpstr>Calibri</vt:lpstr>
      <vt:lpstr>FlexoSoft</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2-11-15T15:5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